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5"/>
  </p:sldMasterIdLst>
  <p:notesMasterIdLst>
    <p:notesMasterId r:id="rId26"/>
  </p:notesMasterIdLst>
  <p:sldIdLst>
    <p:sldId id="308" r:id="rId6"/>
    <p:sldId id="297" r:id="rId7"/>
    <p:sldId id="311" r:id="rId8"/>
    <p:sldId id="312" r:id="rId9"/>
    <p:sldId id="313" r:id="rId10"/>
    <p:sldId id="259" r:id="rId11"/>
    <p:sldId id="314" r:id="rId12"/>
    <p:sldId id="315" r:id="rId13"/>
    <p:sldId id="299" r:id="rId14"/>
    <p:sldId id="306" r:id="rId15"/>
    <p:sldId id="305" r:id="rId16"/>
    <p:sldId id="300" r:id="rId17"/>
    <p:sldId id="301" r:id="rId18"/>
    <p:sldId id="293" r:id="rId19"/>
    <p:sldId id="291" r:id="rId20"/>
    <p:sldId id="309" r:id="rId21"/>
    <p:sldId id="295" r:id="rId22"/>
    <p:sldId id="302" r:id="rId23"/>
    <p:sldId id="287" r:id="rId24"/>
    <p:sldId id="281" r:id="rId25"/>
  </p:sldIdLst>
  <p:sldSz cx="9144000" cy="5143500" type="screen16x9"/>
  <p:notesSz cx="6858000" cy="9144000"/>
  <p:custDataLst>
    <p:tags r:id="rId27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FCA0A"/>
    <a:srgbClr val="878787"/>
    <a:srgbClr val="C6C6C6"/>
    <a:srgbClr val="ECECEC"/>
    <a:srgbClr val="9A9A9A"/>
    <a:srgbClr val="858400"/>
    <a:srgbClr val="DADA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4" autoAdjust="0"/>
    <p:restoredTop sz="94667" autoAdjust="0"/>
  </p:normalViewPr>
  <p:slideViewPr>
    <p:cSldViewPr snapToGrid="0" snapToObjects="1">
      <p:cViewPr varScale="1">
        <p:scale>
          <a:sx n="144" d="100"/>
          <a:sy n="144" d="100"/>
        </p:scale>
        <p:origin x="132" y="5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30" Type="http://schemas.openxmlformats.org/officeDocument/2006/relationships/theme" Target="theme/theme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Beispieldiagramm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AF6-4E41-9753-81D2F5A7A569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AF6-4E41-9753-81D2F5A7A569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AF6-4E41-9753-81D2F5A7A569}"/>
              </c:ext>
            </c:extLst>
          </c:dPt>
          <c:dPt>
            <c:idx val="3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AF6-4E41-9753-81D2F5A7A569}"/>
              </c:ext>
            </c:extLst>
          </c:dPt>
          <c:dPt>
            <c:idx val="4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AF6-4E41-9753-81D2F5A7A569}"/>
              </c:ext>
            </c:extLst>
          </c:dPt>
          <c:cat>
            <c:strRef>
              <c:f>Tabelle1!$A$2:$A$6</c:f>
              <c:strCache>
                <c:ptCount val="5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8.1999999999999993</c:v>
                </c:pt>
                <c:pt idx="1">
                  <c:v>3.2</c:v>
                </c:pt>
                <c:pt idx="2">
                  <c:v>2</c:v>
                </c:pt>
                <c:pt idx="3">
                  <c:v>1.8</c:v>
                </c:pt>
                <c:pt idx="4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E6-4E7D-814B-26E82473A0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dirty="0" err="1">
                <a:solidFill>
                  <a:schemeClr val="tx1"/>
                </a:solidFill>
              </a:rPr>
              <a:t>Diagrammtitel</a:t>
            </a:r>
            <a:endParaRPr lang="en-US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1.4605989211978413E-3"/>
          <c:y val="2.82186896603314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29859662429891898"/>
          <c:y val="1.34127653649284E-2"/>
          <c:w val="0.38390906340285003"/>
          <c:h val="0.98658723463507203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5F6-9F4D-9513-5C495F5F44D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5F6-9F4D-9513-5C495F5F44D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5F6-9F4D-9513-5C495F5F44D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5F6-9F4D-9513-5C495F5F44D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5F6-9F4D-9513-5C495F5F44DB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5F6-9F4D-9513-5C495F5F44DB}"/>
              </c:ext>
            </c:extLst>
          </c:dPt>
          <c:dPt>
            <c:idx val="6"/>
            <c:bubble3D val="0"/>
            <c:spPr>
              <a:solidFill>
                <a:srgbClr val="ECECE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35F6-9F4D-9513-5C495F5F44DB}"/>
              </c:ext>
            </c:extLst>
          </c:dPt>
          <c:dPt>
            <c:idx val="7"/>
            <c:bubble3D val="0"/>
            <c:spPr>
              <a:solidFill>
                <a:srgbClr val="C6C6C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35F6-9F4D-9513-5C495F5F44DB}"/>
              </c:ext>
            </c:extLst>
          </c:dPt>
          <c:dPt>
            <c:idx val="8"/>
            <c:bubble3D val="0"/>
            <c:spPr>
              <a:solidFill>
                <a:srgbClr val="878787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35F6-9F4D-9513-5C495F5F44DB}"/>
              </c:ext>
            </c:extLst>
          </c:dPt>
          <c:dPt>
            <c:idx val="9"/>
            <c:bubble3D val="0"/>
            <c:spPr>
              <a:solidFill>
                <a:srgbClr val="878787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35F6-9F4D-9513-5C495F5F44DB}"/>
              </c:ext>
            </c:extLst>
          </c:dPt>
          <c:cat>
            <c:strRef>
              <c:f>Tabelle1!$A$2:$A$10</c:f>
              <c:strCache>
                <c:ptCount val="9"/>
                <c:pt idx="0">
                  <c:v>Kat. 1 | Daten 1</c:v>
                </c:pt>
                <c:pt idx="1">
                  <c:v>Kat. 1 | Daten 2</c:v>
                </c:pt>
                <c:pt idx="2">
                  <c:v>Kat. 1 | Daten 3</c:v>
                </c:pt>
                <c:pt idx="3">
                  <c:v>Kat. 1 | Daten 4</c:v>
                </c:pt>
                <c:pt idx="4">
                  <c:v>Kat. 1 | Daten 5</c:v>
                </c:pt>
                <c:pt idx="5">
                  <c:v>Kat. 1 | Daten 6</c:v>
                </c:pt>
                <c:pt idx="6">
                  <c:v>Kat. 1 | Daten 7</c:v>
                </c:pt>
                <c:pt idx="7">
                  <c:v>Kat. 1 | Daten 8</c:v>
                </c:pt>
                <c:pt idx="8">
                  <c:v>Kat. 1 | Daten 9</c:v>
                </c:pt>
              </c:strCache>
            </c:str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2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35F6-9F4D-9513-5C495F5F44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5410130820262"/>
          <c:y val="1.8676921185422E-2"/>
          <c:w val="0.17104656209312399"/>
          <c:h val="0.98132307881457803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t" anchorCtr="0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Verdana" charset="0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500" b="0" i="0" u="none" strike="noStrike" kern="1200" spc="0" baseline="0">
                <a:solidFill>
                  <a:schemeClr val="tx1"/>
                </a:solidFill>
                <a:latin typeface="Verdana" charset="0"/>
                <a:ea typeface="+mn-ea"/>
                <a:cs typeface="+mn-cs"/>
              </a:defRPr>
            </a:pPr>
            <a:r>
              <a:rPr lang="de-DE" sz="1862" b="0" i="0" u="none" strike="noStrike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agrammtitel</a:t>
            </a:r>
          </a:p>
        </c:rich>
      </c:tx>
      <c:layout>
        <c:manualLayout>
          <c:xMode val="edge"/>
          <c:yMode val="edge"/>
          <c:x val="1.3818587637175279E-3"/>
          <c:y val="2.82186896603314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00" b="0" i="0" u="none" strike="noStrike" kern="1200" spc="0" baseline="0">
              <a:solidFill>
                <a:schemeClr val="tx1"/>
              </a:solidFill>
              <a:latin typeface="Verdana" charset="0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4.0856965713931402E-2"/>
          <c:y val="0.19861254405929901"/>
          <c:w val="0.67827441254882503"/>
          <c:h val="0.740246961676649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2E5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DA7-5644-A5A5-669C50DDEABE}"/>
              </c:ext>
            </c:extLst>
          </c:dPt>
          <c:dPt>
            <c:idx val="1"/>
            <c:invertIfNegative val="0"/>
            <c:bubble3D val="0"/>
            <c:spPr>
              <a:solidFill>
                <a:srgbClr val="C7D2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DA7-5644-A5A5-669C50DDEABE}"/>
              </c:ext>
            </c:extLst>
          </c:dPt>
          <c:dPt>
            <c:idx val="2"/>
            <c:invertIfNegative val="0"/>
            <c:bubble3D val="0"/>
            <c:spPr>
              <a:solidFill>
                <a:srgbClr val="23B2C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DA7-5644-A5A5-669C50DDEABE}"/>
              </c:ext>
            </c:extLst>
          </c:dPt>
          <c:dPt>
            <c:idx val="3"/>
            <c:invertIfNegative val="0"/>
            <c:bubble3D val="0"/>
            <c:spPr>
              <a:solidFill>
                <a:srgbClr val="6169A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DA7-5644-A5A5-669C50DDEABE}"/>
              </c:ext>
            </c:extLst>
          </c:dPt>
          <c:dPt>
            <c:idx val="4"/>
            <c:invertIfNegative val="0"/>
            <c:bubble3D val="0"/>
            <c:spPr>
              <a:solidFill>
                <a:srgbClr val="ED6A6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DA7-5644-A5A5-669C50DDEABE}"/>
              </c:ext>
            </c:extLst>
          </c:dPt>
          <c:dPt>
            <c:idx val="5"/>
            <c:invertIfNegative val="0"/>
            <c:bubble3D val="0"/>
            <c:spPr>
              <a:solidFill>
                <a:srgbClr val="FBB9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DA7-5644-A5A5-669C50DDEABE}"/>
              </c:ext>
            </c:extLst>
          </c:dPt>
          <c:dPt>
            <c:idx val="6"/>
            <c:invertIfNegative val="0"/>
            <c:bubble3D val="0"/>
            <c:spPr>
              <a:solidFill>
                <a:srgbClr val="ECECE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2DA7-5644-A5A5-669C50DDEABE}"/>
              </c:ext>
            </c:extLst>
          </c:dPt>
          <c:dPt>
            <c:idx val="7"/>
            <c:invertIfNegative val="0"/>
            <c:bubble3D val="0"/>
            <c:spPr>
              <a:solidFill>
                <a:srgbClr val="C6C6C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2DA7-5644-A5A5-669C50DDEABE}"/>
              </c:ext>
            </c:extLst>
          </c:dPt>
          <c:dPt>
            <c:idx val="8"/>
            <c:invertIfNegative val="0"/>
            <c:bubble3D val="0"/>
            <c:spPr>
              <a:solidFill>
                <a:srgbClr val="8787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2DA7-5644-A5A5-669C50DDEABE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2DA7-5644-A5A5-669C50DDEABE}"/>
              </c:ext>
            </c:extLst>
          </c:dPt>
          <c:cat>
            <c:strRef>
              <c:f>Tabelle1!$A$2:$A$10</c:f>
              <c:strCache>
                <c:ptCount val="9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  <c:pt idx="6">
                  <c:v>Kategorie 7</c:v>
                </c:pt>
                <c:pt idx="7">
                  <c:v>Kategorie 8</c:v>
                </c:pt>
                <c:pt idx="8">
                  <c:v>Kategorie 9</c:v>
                </c:pt>
              </c:strCache>
            </c:str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  <c:pt idx="5">
                  <c:v>2</c:v>
                </c:pt>
                <c:pt idx="6">
                  <c:v>3</c:v>
                </c:pt>
                <c:pt idx="7">
                  <c:v>5</c:v>
                </c:pt>
                <c:pt idx="8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2DA7-5644-A5A5-669C50DDE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9"/>
        <c:overlap val="-75"/>
        <c:axId val="-622406320"/>
        <c:axId val="-622404544"/>
      </c:barChart>
      <c:catAx>
        <c:axId val="-62240632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622404544"/>
        <c:crosses val="autoZero"/>
        <c:auto val="1"/>
        <c:lblAlgn val="ctr"/>
        <c:lblOffset val="100"/>
        <c:noMultiLvlLbl val="0"/>
      </c:catAx>
      <c:valAx>
        <c:axId val="-622404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Verdana" charset="0"/>
                <a:ea typeface="+mn-ea"/>
                <a:cs typeface="+mn-cs"/>
              </a:defRPr>
            </a:pPr>
            <a:endParaRPr lang="de-DE"/>
          </a:p>
        </c:txPr>
        <c:crossAx val="-6224063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0889515779031596"/>
          <c:y val="2.0649266869554799E-2"/>
          <c:w val="0.14228594457188901"/>
          <c:h val="0.9785956424714240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Verdana" charset="0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C13F70-DFA7-B746-89AF-E94A9998F00B}" type="datetimeFigureOut">
              <a:rPr lang="de-DE" smtClean="0"/>
              <a:t>17.08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1DE3AC-C885-0747-B09C-7C2F3DAD00E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4836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A6B5D69-82F2-469A-8579-57A842C72EA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785938" y="0"/>
            <a:ext cx="7358062" cy="51514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Klicken auf Symbol, um Bild einzufüg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164760F-6A73-403A-8EFB-763F0FD3CB19}"/>
              </a:ext>
            </a:extLst>
          </p:cNvPr>
          <p:cNvSpPr/>
          <p:nvPr userDrawn="1"/>
        </p:nvSpPr>
        <p:spPr>
          <a:xfrm>
            <a:off x="0" y="0"/>
            <a:ext cx="1786411" cy="5151120"/>
          </a:xfrm>
          <a:prstGeom prst="rect">
            <a:avLst/>
          </a:prstGeom>
          <a:solidFill>
            <a:srgbClr val="AFCA0A"/>
          </a:solidFill>
          <a:ln>
            <a:solidFill>
              <a:srgbClr val="AFCA0A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0938AC-58EC-4440-ACD0-39A6950223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1220" y="246888"/>
            <a:ext cx="6464618" cy="688150"/>
          </a:xfrm>
        </p:spPr>
        <p:txBody>
          <a:bodyPr/>
          <a:lstStyle/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B32384-65E2-474F-8D4D-0679C7ED3C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33556" y="4788862"/>
            <a:ext cx="998288" cy="144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EF3A708-6A7D-CF40-8F96-533D942153E5}" type="datetime4">
              <a:rPr lang="de-CH" smtClean="0"/>
              <a:pPr/>
              <a:t>17. August 2022</a:t>
            </a:fld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28FDF1-E5C3-4079-8877-430FF64BDD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72450" y="4788862"/>
            <a:ext cx="431800" cy="144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0872841A-261C-904D-89C3-31866CF6678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16D085FD-7F81-430D-9914-CB49CE486C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933" y="282219"/>
            <a:ext cx="827228" cy="388797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6BB4E8E-DF7A-4EE2-AC7F-34969CAF78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7814" y="4503738"/>
            <a:ext cx="1477206" cy="564825"/>
          </a:xfrm>
        </p:spPr>
        <p:txBody>
          <a:bodyPr anchor="b"/>
          <a:lstStyle>
            <a:lvl1pPr>
              <a:defRPr sz="10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Ort, Datu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EA0358F9-651F-4120-807C-E71A10B3D9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1219" y="4503738"/>
            <a:ext cx="4840945" cy="564825"/>
          </a:xfrm>
        </p:spPr>
        <p:txBody>
          <a:bodyPr anchor="b"/>
          <a:lstStyle>
            <a:lvl1pPr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Referent:i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4215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473A8D-9FC8-844E-80E1-C4D4B2631D71}" type="datetime4">
              <a:rPr lang="de-CH" smtClean="0"/>
              <a:t>17. August 202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72841A-261C-904D-89C3-31866CF6678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289050"/>
            <a:ext cx="8064500" cy="2498090"/>
          </a:xfrm>
          <a:prstGeom prst="rect">
            <a:avLst/>
          </a:prstGeom>
        </p:spPr>
        <p:txBody>
          <a:bodyPr/>
          <a:lstStyle>
            <a:lvl1pPr marL="171450" marR="0" indent="-171450" algn="ctr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1" i="1"/>
            </a:lvl1pPr>
          </a:lstStyle>
          <a:p>
            <a:pPr marL="171450" marR="0" lvl="0" indent="-17145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«</a:t>
            </a:r>
            <a:r>
              <a:rPr lang="en-US" dirty="0" err="1"/>
              <a:t>Zitat</a:t>
            </a:r>
            <a:r>
              <a:rPr lang="en-US" dirty="0"/>
              <a:t>.»</a:t>
            </a:r>
          </a:p>
          <a:p>
            <a:pPr marL="171450" marR="0" lvl="0" indent="-17145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4069137"/>
            <a:ext cx="8064500" cy="190443"/>
          </a:xfrm>
          <a:prstGeom prst="rect">
            <a:avLst/>
          </a:prstGeom>
        </p:spPr>
        <p:txBody>
          <a:bodyPr>
            <a:noAutofit/>
          </a:bodyPr>
          <a:lstStyle>
            <a:lvl1pPr marL="171450" marR="0" indent="-17145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 marL="171450" marR="0" lvl="0" indent="-17145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ut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67561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rstellung Refe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9B838-3E90-8048-880C-2FFF27197E25}" type="datetime4">
              <a:rPr lang="de-CH" smtClean="0"/>
              <a:t>17. August 2022</a:t>
            </a:fld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2841A-261C-904D-89C3-31866CF66781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3B78D8A-4592-4C4A-8E43-6A8AC9D2390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0000" y="935831"/>
            <a:ext cx="3960000" cy="324246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7FD59A3-D325-4103-BD73-7C2BC95B94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43438" y="933450"/>
            <a:ext cx="3960561" cy="3242550"/>
          </a:xfrm>
          <a:solidFill>
            <a:schemeClr val="bg2"/>
          </a:solidFill>
        </p:spPr>
        <p:txBody>
          <a:bodyPr lIns="72000" anchor="ctr"/>
          <a:lstStyle>
            <a:lvl1pPr algn="ctr">
              <a:defRPr b="1"/>
            </a:lvl1pPr>
            <a:lvl2pPr algn="ctr">
              <a:defRPr b="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 dirty="0"/>
              <a:t>Name / Titel / Funktion</a:t>
            </a:r>
          </a:p>
          <a:p>
            <a:pPr lvl="1"/>
            <a:r>
              <a:rPr lang="de-DE" dirty="0"/>
              <a:t>Zweite Ebene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836" userDrawn="1">
          <p15:clr>
            <a:srgbClr val="FBAE40"/>
          </p15:clr>
        </p15:guide>
        <p15:guide id="2" pos="2925" userDrawn="1">
          <p15:clr>
            <a:srgbClr val="FBAE40"/>
          </p15:clr>
        </p15:guide>
        <p15:guide id="3" orient="horz" pos="263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lie Dan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C7D51E9-BD75-4CD5-90C3-B888956D953B}"/>
              </a:ext>
            </a:extLst>
          </p:cNvPr>
          <p:cNvSpPr/>
          <p:nvPr userDrawn="1"/>
        </p:nvSpPr>
        <p:spPr>
          <a:xfrm>
            <a:off x="0" y="0"/>
            <a:ext cx="1786411" cy="5151120"/>
          </a:xfrm>
          <a:prstGeom prst="rect">
            <a:avLst/>
          </a:prstGeom>
          <a:solidFill>
            <a:srgbClr val="AFCA0A"/>
          </a:solidFill>
          <a:ln>
            <a:solidFill>
              <a:srgbClr val="AFCA0A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B905A2-0AE1-4AED-A7DF-1E536294BC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F3A708-6A7D-CF40-8F96-533D942153E5}" type="datetime4">
              <a:rPr lang="de-CH" smtClean="0"/>
              <a:pPr/>
              <a:t>17. August 2022</a:t>
            </a:fld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6E2EA4-08A3-4789-B834-1CA9E99BCA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872841A-261C-904D-89C3-31866CF6678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6236AB9-0CB1-4900-99D6-013DCE47F4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1220" y="944975"/>
            <a:ext cx="6464618" cy="688150"/>
          </a:xfrm>
        </p:spPr>
        <p:txBody>
          <a:bodyPr/>
          <a:lstStyle>
            <a:lvl1pPr algn="ctr">
              <a:defRPr sz="3600" cap="none" baseline="0"/>
            </a:lvl1pPr>
          </a:lstStyle>
          <a:p>
            <a:r>
              <a:rPr lang="de-CH" dirty="0"/>
              <a:t>Grazia-Grazie-Dank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E487AFF-4BF7-4C36-A03B-45DD804B7C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19675" y="2781300"/>
            <a:ext cx="3584574" cy="1719263"/>
          </a:xfrm>
        </p:spPr>
        <p:txBody>
          <a:bodyPr anchor="b"/>
          <a:lstStyle>
            <a:lvl1pPr algn="r">
              <a:lnSpc>
                <a:spcPts val="1500"/>
              </a:lnSpc>
              <a:spcBef>
                <a:spcPts val="0"/>
              </a:spcBef>
              <a:defRPr sz="1000"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3ED8108-0BA0-4CF6-91DE-7820D024A0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933" y="282219"/>
            <a:ext cx="827228" cy="38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2412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Cla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6"/>
          <p:cNvSpPr/>
          <p:nvPr userDrawn="1"/>
        </p:nvSpPr>
        <p:spPr>
          <a:xfrm>
            <a:off x="3901440" y="0"/>
            <a:ext cx="5242560" cy="3383280"/>
          </a:xfrm>
          <a:custGeom>
            <a:avLst/>
            <a:gdLst>
              <a:gd name="connsiteX0" fmla="*/ 0 w 5234940"/>
              <a:gd name="connsiteY0" fmla="*/ 0 h 2574000"/>
              <a:gd name="connsiteX1" fmla="*/ 5234940 w 5234940"/>
              <a:gd name="connsiteY1" fmla="*/ 0 h 2574000"/>
              <a:gd name="connsiteX2" fmla="*/ 5234940 w 5234940"/>
              <a:gd name="connsiteY2" fmla="*/ 2574000 h 2574000"/>
              <a:gd name="connsiteX3" fmla="*/ 0 w 5234940"/>
              <a:gd name="connsiteY3" fmla="*/ 2574000 h 2574000"/>
              <a:gd name="connsiteX4" fmla="*/ 0 w 5234940"/>
              <a:gd name="connsiteY4" fmla="*/ 0 h 2574000"/>
              <a:gd name="connsiteX0" fmla="*/ 0 w 5242560"/>
              <a:gd name="connsiteY0" fmla="*/ 0 h 3488400"/>
              <a:gd name="connsiteX1" fmla="*/ 5234940 w 5242560"/>
              <a:gd name="connsiteY1" fmla="*/ 0 h 3488400"/>
              <a:gd name="connsiteX2" fmla="*/ 5242560 w 5242560"/>
              <a:gd name="connsiteY2" fmla="*/ 3488400 h 3488400"/>
              <a:gd name="connsiteX3" fmla="*/ 0 w 5242560"/>
              <a:gd name="connsiteY3" fmla="*/ 2574000 h 3488400"/>
              <a:gd name="connsiteX4" fmla="*/ 0 w 5242560"/>
              <a:gd name="connsiteY4" fmla="*/ 0 h 3488400"/>
              <a:gd name="connsiteX0" fmla="*/ 0 w 5242560"/>
              <a:gd name="connsiteY0" fmla="*/ 0 h 3488400"/>
              <a:gd name="connsiteX1" fmla="*/ 5234940 w 5242560"/>
              <a:gd name="connsiteY1" fmla="*/ 0 h 3488400"/>
              <a:gd name="connsiteX2" fmla="*/ 5242560 w 5242560"/>
              <a:gd name="connsiteY2" fmla="*/ 3488400 h 3488400"/>
              <a:gd name="connsiteX3" fmla="*/ 0 w 5242560"/>
              <a:gd name="connsiteY3" fmla="*/ 2444460 h 3488400"/>
              <a:gd name="connsiteX4" fmla="*/ 0 w 5242560"/>
              <a:gd name="connsiteY4" fmla="*/ 0 h 348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42560" h="3488400">
                <a:moveTo>
                  <a:pt x="0" y="0"/>
                </a:moveTo>
                <a:lnTo>
                  <a:pt x="5234940" y="0"/>
                </a:lnTo>
                <a:lnTo>
                  <a:pt x="5242560" y="3488400"/>
                </a:lnTo>
                <a:lnTo>
                  <a:pt x="0" y="244446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" name="Rechteck 7"/>
          <p:cNvSpPr/>
          <p:nvPr userDrawn="1"/>
        </p:nvSpPr>
        <p:spPr>
          <a:xfrm>
            <a:off x="3383280" y="2103120"/>
            <a:ext cx="5760720" cy="3040380"/>
          </a:xfrm>
          <a:custGeom>
            <a:avLst/>
            <a:gdLst>
              <a:gd name="connsiteX0" fmla="*/ 0 w 5760720"/>
              <a:gd name="connsiteY0" fmla="*/ 0 h 2574000"/>
              <a:gd name="connsiteX1" fmla="*/ 5760720 w 5760720"/>
              <a:gd name="connsiteY1" fmla="*/ 0 h 2574000"/>
              <a:gd name="connsiteX2" fmla="*/ 5760720 w 5760720"/>
              <a:gd name="connsiteY2" fmla="*/ 2574000 h 2574000"/>
              <a:gd name="connsiteX3" fmla="*/ 0 w 5760720"/>
              <a:gd name="connsiteY3" fmla="*/ 2574000 h 2574000"/>
              <a:gd name="connsiteX4" fmla="*/ 0 w 5760720"/>
              <a:gd name="connsiteY4" fmla="*/ 0 h 2574000"/>
              <a:gd name="connsiteX0" fmla="*/ 0 w 5760720"/>
              <a:gd name="connsiteY0" fmla="*/ 0 h 2574000"/>
              <a:gd name="connsiteX1" fmla="*/ 5760720 w 5760720"/>
              <a:gd name="connsiteY1" fmla="*/ 891540 h 2574000"/>
              <a:gd name="connsiteX2" fmla="*/ 5760720 w 5760720"/>
              <a:gd name="connsiteY2" fmla="*/ 2574000 h 2574000"/>
              <a:gd name="connsiteX3" fmla="*/ 0 w 5760720"/>
              <a:gd name="connsiteY3" fmla="*/ 2574000 h 2574000"/>
              <a:gd name="connsiteX4" fmla="*/ 0 w 5760720"/>
              <a:gd name="connsiteY4" fmla="*/ 0 h 2574000"/>
              <a:gd name="connsiteX0" fmla="*/ 22860 w 5760720"/>
              <a:gd name="connsiteY0" fmla="*/ 0 h 2977860"/>
              <a:gd name="connsiteX1" fmla="*/ 5760720 w 5760720"/>
              <a:gd name="connsiteY1" fmla="*/ 1295400 h 2977860"/>
              <a:gd name="connsiteX2" fmla="*/ 5760720 w 5760720"/>
              <a:gd name="connsiteY2" fmla="*/ 2977860 h 2977860"/>
              <a:gd name="connsiteX3" fmla="*/ 0 w 5760720"/>
              <a:gd name="connsiteY3" fmla="*/ 2977860 h 2977860"/>
              <a:gd name="connsiteX4" fmla="*/ 22860 w 5760720"/>
              <a:gd name="connsiteY4" fmla="*/ 0 h 2977860"/>
              <a:gd name="connsiteX0" fmla="*/ 22860 w 5760720"/>
              <a:gd name="connsiteY0" fmla="*/ 0 h 2977860"/>
              <a:gd name="connsiteX1" fmla="*/ 5760720 w 5760720"/>
              <a:gd name="connsiteY1" fmla="*/ 1577970 h 2977860"/>
              <a:gd name="connsiteX2" fmla="*/ 5760720 w 5760720"/>
              <a:gd name="connsiteY2" fmla="*/ 2977860 h 2977860"/>
              <a:gd name="connsiteX3" fmla="*/ 0 w 5760720"/>
              <a:gd name="connsiteY3" fmla="*/ 2977860 h 2977860"/>
              <a:gd name="connsiteX4" fmla="*/ 22860 w 5760720"/>
              <a:gd name="connsiteY4" fmla="*/ 0 h 2977860"/>
              <a:gd name="connsiteX0" fmla="*/ 22860 w 5760720"/>
              <a:gd name="connsiteY0" fmla="*/ 0 h 2977860"/>
              <a:gd name="connsiteX1" fmla="*/ 5760720 w 5760720"/>
              <a:gd name="connsiteY1" fmla="*/ 1389590 h 2977860"/>
              <a:gd name="connsiteX2" fmla="*/ 5760720 w 5760720"/>
              <a:gd name="connsiteY2" fmla="*/ 2977860 h 2977860"/>
              <a:gd name="connsiteX3" fmla="*/ 0 w 5760720"/>
              <a:gd name="connsiteY3" fmla="*/ 2977860 h 2977860"/>
              <a:gd name="connsiteX4" fmla="*/ 22860 w 5760720"/>
              <a:gd name="connsiteY4" fmla="*/ 0 h 2977860"/>
              <a:gd name="connsiteX0" fmla="*/ 30480 w 5760720"/>
              <a:gd name="connsiteY0" fmla="*/ 0 h 2700378"/>
              <a:gd name="connsiteX1" fmla="*/ 5760720 w 5760720"/>
              <a:gd name="connsiteY1" fmla="*/ 1112108 h 2700378"/>
              <a:gd name="connsiteX2" fmla="*/ 5760720 w 5760720"/>
              <a:gd name="connsiteY2" fmla="*/ 2700378 h 2700378"/>
              <a:gd name="connsiteX3" fmla="*/ 0 w 5760720"/>
              <a:gd name="connsiteY3" fmla="*/ 2700378 h 2700378"/>
              <a:gd name="connsiteX4" fmla="*/ 30480 w 5760720"/>
              <a:gd name="connsiteY4" fmla="*/ 0 h 2700378"/>
              <a:gd name="connsiteX0" fmla="*/ 30480 w 5760720"/>
              <a:gd name="connsiteY0" fmla="*/ 0 h 2700378"/>
              <a:gd name="connsiteX1" fmla="*/ 5760720 w 5760720"/>
              <a:gd name="connsiteY1" fmla="*/ 983519 h 2700378"/>
              <a:gd name="connsiteX2" fmla="*/ 5760720 w 5760720"/>
              <a:gd name="connsiteY2" fmla="*/ 2700378 h 2700378"/>
              <a:gd name="connsiteX3" fmla="*/ 0 w 5760720"/>
              <a:gd name="connsiteY3" fmla="*/ 2700378 h 2700378"/>
              <a:gd name="connsiteX4" fmla="*/ 30480 w 5760720"/>
              <a:gd name="connsiteY4" fmla="*/ 0 h 27003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60720" h="2700378">
                <a:moveTo>
                  <a:pt x="30480" y="0"/>
                </a:moveTo>
                <a:lnTo>
                  <a:pt x="5760720" y="983519"/>
                </a:lnTo>
                <a:lnTo>
                  <a:pt x="5760720" y="2700378"/>
                </a:lnTo>
                <a:lnTo>
                  <a:pt x="0" y="2700378"/>
                </a:lnTo>
                <a:lnTo>
                  <a:pt x="3048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8"/>
          <p:cNvSpPr/>
          <p:nvPr userDrawn="1"/>
        </p:nvSpPr>
        <p:spPr>
          <a:xfrm>
            <a:off x="0" y="0"/>
            <a:ext cx="5356860" cy="5143500"/>
          </a:xfrm>
          <a:custGeom>
            <a:avLst/>
            <a:gdLst>
              <a:gd name="connsiteX0" fmla="*/ 0 w 3772800"/>
              <a:gd name="connsiteY0" fmla="*/ 0 h 5143500"/>
              <a:gd name="connsiteX1" fmla="*/ 3772800 w 3772800"/>
              <a:gd name="connsiteY1" fmla="*/ 0 h 5143500"/>
              <a:gd name="connsiteX2" fmla="*/ 3772800 w 3772800"/>
              <a:gd name="connsiteY2" fmla="*/ 5143500 h 5143500"/>
              <a:gd name="connsiteX3" fmla="*/ 0 w 3772800"/>
              <a:gd name="connsiteY3" fmla="*/ 5143500 h 5143500"/>
              <a:gd name="connsiteX4" fmla="*/ 0 w 3772800"/>
              <a:gd name="connsiteY4" fmla="*/ 0 h 5143500"/>
              <a:gd name="connsiteX0" fmla="*/ 0 w 5443200"/>
              <a:gd name="connsiteY0" fmla="*/ 0 h 5143500"/>
              <a:gd name="connsiteX1" fmla="*/ 5443200 w 5443200"/>
              <a:gd name="connsiteY1" fmla="*/ 0 h 5143500"/>
              <a:gd name="connsiteX2" fmla="*/ 3772800 w 5443200"/>
              <a:gd name="connsiteY2" fmla="*/ 5143500 h 5143500"/>
              <a:gd name="connsiteX3" fmla="*/ 0 w 5443200"/>
              <a:gd name="connsiteY3" fmla="*/ 5143500 h 5143500"/>
              <a:gd name="connsiteX4" fmla="*/ 0 w 5443200"/>
              <a:gd name="connsiteY4" fmla="*/ 0 h 5143500"/>
              <a:gd name="connsiteX0" fmla="*/ 0 w 5443200"/>
              <a:gd name="connsiteY0" fmla="*/ 0 h 5143500"/>
              <a:gd name="connsiteX1" fmla="*/ 5443200 w 5443200"/>
              <a:gd name="connsiteY1" fmla="*/ 0 h 5143500"/>
              <a:gd name="connsiteX2" fmla="*/ 3822891 w 5443200"/>
              <a:gd name="connsiteY2" fmla="*/ 5143500 h 5143500"/>
              <a:gd name="connsiteX3" fmla="*/ 0 w 5443200"/>
              <a:gd name="connsiteY3" fmla="*/ 5143500 h 5143500"/>
              <a:gd name="connsiteX4" fmla="*/ 0 w 5443200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3200" h="5143500">
                <a:moveTo>
                  <a:pt x="0" y="0"/>
                </a:moveTo>
                <a:lnTo>
                  <a:pt x="5443200" y="0"/>
                </a:lnTo>
                <a:lnTo>
                  <a:pt x="3822891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9820" y="1255304"/>
            <a:ext cx="4655820" cy="2383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8954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-Tite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2841A-261C-904D-89C3-31866CF66781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936000"/>
            <a:ext cx="8063999" cy="17081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DAS IST EIN </a:t>
            </a:r>
            <a:br>
              <a:rPr lang="de-DE" dirty="0"/>
            </a:br>
            <a:r>
              <a:rPr lang="de-DE" dirty="0"/>
              <a:t>KAPITELTITEL</a:t>
            </a:r>
            <a:br>
              <a:rPr lang="en-US" dirty="0"/>
            </a:br>
            <a:r>
              <a:rPr lang="en-US" dirty="0"/>
              <a:t>3. ZEI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9999" y="2757906"/>
            <a:ext cx="8064000" cy="1196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1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F93C2B6-5A07-4981-BED5-7FD2CD064B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65319" y="156058"/>
            <a:ext cx="778670" cy="36597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3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-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289304"/>
            <a:ext cx="8064250" cy="321125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500"/>
            </a:lvl1pPr>
            <a:lvl2pPr>
              <a:lnSpc>
                <a:spcPct val="100000"/>
              </a:lnSpc>
              <a:defRPr sz="15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lnSpc>
                <a:spcPct val="100000"/>
              </a:lnSpc>
              <a:defRPr sz="15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56314-8B27-9F4F-96FC-7A7DFD3AF963}" type="datetime4">
              <a:rPr lang="de-CH" smtClean="0"/>
              <a:t>17. August 2022</a:t>
            </a:fld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2841A-261C-904D-89C3-31866CF66781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Titelplatzhalter 11">
            <a:extLst>
              <a:ext uri="{FF2B5EF4-FFF2-40B4-BE49-F238E27FC236}">
                <a16:creationId xmlns:a16="http://schemas.microsoft.com/office/drawing/2014/main" id="{39584A92-11CD-4920-8310-F4B5C0B6D2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246888"/>
            <a:ext cx="8065838" cy="688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CH" dirty="0" err="1"/>
              <a:t>Mastertitel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endParaRPr lang="fr-CH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DE78C-F84F-6E46-8621-C4D4771AC944}" type="datetime4">
              <a:rPr lang="de-CH" smtClean="0"/>
              <a:t>17. August 202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72841A-261C-904D-89C3-31866CF6678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4B0AF02-B2A6-4F2D-AEEC-A30B36E94C8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" y="1289304"/>
            <a:ext cx="7145338" cy="321125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 dirty="0"/>
          </a:p>
        </p:txBody>
      </p:sp>
      <p:sp>
        <p:nvSpPr>
          <p:cNvPr id="7" name="Titelplatzhalter 11">
            <a:extLst>
              <a:ext uri="{FF2B5EF4-FFF2-40B4-BE49-F238E27FC236}">
                <a16:creationId xmlns:a16="http://schemas.microsoft.com/office/drawing/2014/main" id="{99BB6C95-0CB0-48E8-9CA2-0A0E754FE5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246888"/>
            <a:ext cx="7145338" cy="688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CH" dirty="0" err="1"/>
              <a:t>Mastertitel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206225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4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ganzsei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95CA9CB-285D-449E-A0C2-99028BDD93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25" y="-2382"/>
            <a:ext cx="1095375" cy="937420"/>
          </a:xfrm>
          <a:custGeom>
            <a:avLst/>
            <a:gdLst>
              <a:gd name="connsiteX0" fmla="*/ 114300 w 1095375"/>
              <a:gd name="connsiteY0" fmla="*/ 0 h 937420"/>
              <a:gd name="connsiteX1" fmla="*/ 1095375 w 1095375"/>
              <a:gd name="connsiteY1" fmla="*/ 0 h 937420"/>
              <a:gd name="connsiteX2" fmla="*/ 1095375 w 1095375"/>
              <a:gd name="connsiteY2" fmla="*/ 937420 h 937420"/>
              <a:gd name="connsiteX3" fmla="*/ 0 w 1095375"/>
              <a:gd name="connsiteY3" fmla="*/ 665957 h 937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5375" h="937420">
                <a:moveTo>
                  <a:pt x="114300" y="0"/>
                </a:moveTo>
                <a:lnTo>
                  <a:pt x="1095375" y="0"/>
                </a:lnTo>
                <a:lnTo>
                  <a:pt x="1095375" y="937420"/>
                </a:lnTo>
                <a:lnTo>
                  <a:pt x="0" y="66595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70A8E3FF-5A14-4E20-8EB1-06F43B7B7F2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65319" y="156058"/>
            <a:ext cx="778670" cy="36597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457143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ganzseitig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9E5B232-2CB2-40A9-BCD6-C10E6ECA69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65319" y="156058"/>
            <a:ext cx="778670" cy="36597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63168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1299A-642D-C745-AE2C-8F7FC8D0E1CD}" type="datetime4">
              <a:rPr lang="de-CH" smtClean="0"/>
              <a:t>17. August 2022</a:t>
            </a:fld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2841A-261C-904D-89C3-31866CF66781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45025" y="4302122"/>
            <a:ext cx="3960814" cy="19844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0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unterschrif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C70CE0-B894-4325-943E-0D3E74A5510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0000" y="1289304"/>
            <a:ext cx="3960000" cy="321125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E450A50-EEC0-4909-9E38-C32FE974E91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644250" y="1289306"/>
            <a:ext cx="3960000" cy="29255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Titelplatzhalter 11">
            <a:extLst>
              <a:ext uri="{FF2B5EF4-FFF2-40B4-BE49-F238E27FC236}">
                <a16:creationId xmlns:a16="http://schemas.microsoft.com/office/drawing/2014/main" id="{45C579A9-C585-488D-8B71-D5C07757D3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246888"/>
            <a:ext cx="7145338" cy="688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CH" dirty="0" err="1"/>
              <a:t>Mastertitel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endParaRPr lang="fr-CH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836" userDrawn="1">
          <p15:clr>
            <a:srgbClr val="FBAE40"/>
          </p15:clr>
        </p15:guide>
        <p15:guide id="2" pos="2925" userDrawn="1">
          <p15:clr>
            <a:srgbClr val="FBAE40"/>
          </p15:clr>
        </p15:guide>
        <p15:guide id="4" orient="horz" pos="265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82513C-4A6E-B04D-BC3A-F92D9569916B}" type="datetime4">
              <a:rPr lang="de-CH" smtClean="0"/>
              <a:t>17. August 202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72841A-261C-904D-89C3-31866CF6678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643188" y="1289305"/>
            <a:ext cx="3960812" cy="2901696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43438" y="4305299"/>
            <a:ext cx="3960812" cy="195264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0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unterschrift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40000" y="1289305"/>
            <a:ext cx="3960812" cy="2901696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4305299"/>
            <a:ext cx="3960812" cy="195263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0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unterschrift</a:t>
            </a:r>
          </a:p>
        </p:txBody>
      </p:sp>
      <p:sp>
        <p:nvSpPr>
          <p:cNvPr id="11" name="Titelplatzhalter 11">
            <a:extLst>
              <a:ext uri="{FF2B5EF4-FFF2-40B4-BE49-F238E27FC236}">
                <a16:creationId xmlns:a16="http://schemas.microsoft.com/office/drawing/2014/main" id="{B10E5BFE-6964-4B5C-80CC-9682F518B2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246888"/>
            <a:ext cx="7145338" cy="688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CH" dirty="0" err="1"/>
              <a:t>Mastertitel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9999067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 -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47F071-8131-F448-9A55-FB38191D1720}" type="datetime4">
              <a:rPr lang="de-CH" smtClean="0"/>
              <a:t>17. August 202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72841A-261C-904D-89C3-31866CF6678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540000" y="1289304"/>
            <a:ext cx="3960000" cy="32112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643999" y="1289304"/>
            <a:ext cx="3960000" cy="32112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Titelplatzhalter 11">
            <a:extLst>
              <a:ext uri="{FF2B5EF4-FFF2-40B4-BE49-F238E27FC236}">
                <a16:creationId xmlns:a16="http://schemas.microsoft.com/office/drawing/2014/main" id="{24412622-2C5E-436D-9404-F263C71647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246888"/>
            <a:ext cx="7145338" cy="688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CH" dirty="0" err="1"/>
              <a:t>Mastertitel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479735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36" userDrawn="1">
          <p15:clr>
            <a:srgbClr val="FBAE40"/>
          </p15:clr>
        </p15:guide>
        <p15:guide id="2" pos="292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2A88D15-B4C3-4F03-8FC7-4BD7D831BB27}"/>
              </a:ext>
            </a:extLst>
          </p:cNvPr>
          <p:cNvSpPr/>
          <p:nvPr userDrawn="1"/>
        </p:nvSpPr>
        <p:spPr>
          <a:xfrm>
            <a:off x="8048625" y="-2382"/>
            <a:ext cx="1095375" cy="937420"/>
          </a:xfrm>
          <a:custGeom>
            <a:avLst/>
            <a:gdLst>
              <a:gd name="connsiteX0" fmla="*/ 0 w 981075"/>
              <a:gd name="connsiteY0" fmla="*/ 0 h 937420"/>
              <a:gd name="connsiteX1" fmla="*/ 981075 w 981075"/>
              <a:gd name="connsiteY1" fmla="*/ 0 h 937420"/>
              <a:gd name="connsiteX2" fmla="*/ 981075 w 981075"/>
              <a:gd name="connsiteY2" fmla="*/ 937420 h 937420"/>
              <a:gd name="connsiteX3" fmla="*/ 0 w 981075"/>
              <a:gd name="connsiteY3" fmla="*/ 937420 h 937420"/>
              <a:gd name="connsiteX4" fmla="*/ 0 w 981075"/>
              <a:gd name="connsiteY4" fmla="*/ 0 h 937420"/>
              <a:gd name="connsiteX0" fmla="*/ 114300 w 1095375"/>
              <a:gd name="connsiteY0" fmla="*/ 0 h 937420"/>
              <a:gd name="connsiteX1" fmla="*/ 1095375 w 1095375"/>
              <a:gd name="connsiteY1" fmla="*/ 0 h 937420"/>
              <a:gd name="connsiteX2" fmla="*/ 1095375 w 1095375"/>
              <a:gd name="connsiteY2" fmla="*/ 937420 h 937420"/>
              <a:gd name="connsiteX3" fmla="*/ 0 w 1095375"/>
              <a:gd name="connsiteY3" fmla="*/ 665957 h 937420"/>
              <a:gd name="connsiteX4" fmla="*/ 114300 w 1095375"/>
              <a:gd name="connsiteY4" fmla="*/ 0 h 937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375" h="937420">
                <a:moveTo>
                  <a:pt x="114300" y="0"/>
                </a:moveTo>
                <a:lnTo>
                  <a:pt x="1095375" y="0"/>
                </a:lnTo>
                <a:lnTo>
                  <a:pt x="1095375" y="937420"/>
                </a:lnTo>
                <a:lnTo>
                  <a:pt x="0" y="665957"/>
                </a:lnTo>
                <a:lnTo>
                  <a:pt x="11430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000" y="4788862"/>
            <a:ext cx="20574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2EF3A708-6A7D-CF40-8F96-533D942153E5}" type="datetime4">
              <a:rPr lang="de-CH" smtClean="0"/>
              <a:t>17. August 2022</a:t>
            </a:fld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46850" y="4788862"/>
            <a:ext cx="20574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872841A-261C-904D-89C3-31866CF6678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02D9ADD-1D28-4E11-A621-98F3CF653D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289304"/>
            <a:ext cx="8064250" cy="32112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  <a:p>
            <a:pPr lvl="4"/>
            <a:endParaRPr lang="fr-CH" dirty="0"/>
          </a:p>
        </p:txBody>
      </p:sp>
      <p:sp>
        <p:nvSpPr>
          <p:cNvPr id="12" name="Titelplatzhalter 11">
            <a:extLst>
              <a:ext uri="{FF2B5EF4-FFF2-40B4-BE49-F238E27FC236}">
                <a16:creationId xmlns:a16="http://schemas.microsoft.com/office/drawing/2014/main" id="{063ECE47-62B8-4DE4-9DE3-A822A536C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46888"/>
            <a:ext cx="8065838" cy="688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fr-CH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5352285-38A2-49A2-81E0-53230F32935E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265319" y="156058"/>
            <a:ext cx="778670" cy="365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881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67" r:id="rId2"/>
    <p:sldLayoutId id="2147483662" r:id="rId3"/>
    <p:sldLayoutId id="2147483680" r:id="rId4"/>
    <p:sldLayoutId id="2147483673" r:id="rId5"/>
    <p:sldLayoutId id="2147483681" r:id="rId6"/>
    <p:sldLayoutId id="2147483664" r:id="rId7"/>
    <p:sldLayoutId id="2147483675" r:id="rId8"/>
    <p:sldLayoutId id="2147483674" r:id="rId9"/>
    <p:sldLayoutId id="2147483672" r:id="rId10"/>
    <p:sldLayoutId id="2147483665" r:id="rId11"/>
    <p:sldLayoutId id="2147483683" r:id="rId12"/>
    <p:sldLayoutId id="2147483678" r:id="rId13"/>
  </p:sldLayoutIdLst>
  <p:hf hdr="0" ft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b="1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750"/>
        </a:spcBef>
        <a:buFontTx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Tx/>
        <a:buNone/>
        <a:defRPr sz="15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180000" algn="l" defTabSz="6858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6858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buFontTx/>
        <a:buNone/>
        <a:defRPr sz="1500" b="1" i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685800" rtl="0" eaLnBrk="1" latinLnBrk="0" hangingPunct="1">
        <a:lnSpc>
          <a:spcPct val="100000"/>
        </a:lnSpc>
        <a:spcBef>
          <a:spcPts val="0"/>
        </a:spcBef>
        <a:buFontTx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7pPr>
      <a:lvl8pPr marL="180000" indent="-180000" algn="l" defTabSz="6858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80000" algn="l" defTabSz="6858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9" userDrawn="1">
          <p15:clr>
            <a:srgbClr val="F26B43"/>
          </p15:clr>
        </p15:guide>
        <p15:guide id="2" pos="5421" userDrawn="1">
          <p15:clr>
            <a:srgbClr val="F26B43"/>
          </p15:clr>
        </p15:guide>
        <p15:guide id="3" orient="horz" pos="812" userDrawn="1">
          <p15:clr>
            <a:srgbClr val="F26B43"/>
          </p15:clr>
        </p15:guide>
        <p15:guide id="4" orient="horz" pos="2837" userDrawn="1">
          <p15:clr>
            <a:srgbClr val="F26B43"/>
          </p15:clr>
        </p15:guide>
        <p15:guide id="5" orient="horz" pos="58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3">
            <a:extLst>
              <a:ext uri="{FF2B5EF4-FFF2-40B4-BE49-F238E27FC236}">
                <a16:creationId xmlns:a16="http://schemas.microsoft.com/office/drawing/2014/main" id="{F8A33D83-CCEE-4FC1-A056-92C7196AE4B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l="9828" r="9828"/>
          <a:stretch/>
        </p:blipFill>
        <p:spPr>
          <a:xfrm>
            <a:off x="1785938" y="0"/>
            <a:ext cx="7358062" cy="5151438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8131C11-E22B-40C7-A6C2-A90A0EDC81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 335</a:t>
            </a:r>
            <a:br>
              <a:rPr lang="de-DE" dirty="0"/>
            </a:br>
            <a:r>
              <a:rPr lang="de-DE" dirty="0"/>
              <a:t>Möglichkeiten zur Entwicklung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0DEE01-A75B-4AC4-8E36-8AD082F0A1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F3A708-6A7D-CF40-8F96-533D942153E5}" type="datetime4">
              <a:rPr lang="de-CH" smtClean="0"/>
              <a:pPr/>
              <a:t>17. August 2022</a:t>
            </a:fld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0DC889-08FE-4EDD-A779-DB9D085BC12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72841A-261C-904D-89C3-31866CF66781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3D5528C-7120-42FE-B992-FC56CED3E3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rt, Datu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DC0E79-2157-4238-90B0-5C0F5ECEB7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ndré Schmid</a:t>
            </a:r>
          </a:p>
        </p:txBody>
      </p:sp>
    </p:spTree>
    <p:extLst>
      <p:ext uri="{BB962C8B-B14F-4D97-AF65-F5344CB8AC3E}">
        <p14:creationId xmlns:p14="http://schemas.microsoft.com/office/powerpoint/2010/main" val="24691429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>
            <a:extLst>
              <a:ext uri="{FF2B5EF4-FFF2-40B4-BE49-F238E27FC236}">
                <a16:creationId xmlns:a16="http://schemas.microsoft.com/office/drawing/2014/main" id="{5C165D82-FEF5-4B5B-AABC-F01B0310BD9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" r="26"/>
          <a:stretch/>
        </p:blipFill>
        <p:spPr>
          <a:xfrm>
            <a:off x="0" y="0"/>
            <a:ext cx="9144000" cy="5143500"/>
          </a:xfr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0DD205-2412-43D9-AD27-2201B51BDB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EAE556-B3A8-4282-9110-AB2F8E80B6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9104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3" descr="Kinder laufen auf dem Feld">
            <a:extLst>
              <a:ext uri="{FF2B5EF4-FFF2-40B4-BE49-F238E27FC236}">
                <a16:creationId xmlns:a16="http://schemas.microsoft.com/office/drawing/2014/main" id="{8F23731C-B0AA-4A5D-AB1D-CFB594F529C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t="7817" b="7817"/>
          <a:stretch/>
        </p:blipFill>
        <p:spPr>
          <a:xfrm>
            <a:off x="0" y="0"/>
            <a:ext cx="9144000" cy="51435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7C30A-864F-446F-A019-C890B10EBF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5840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73217B-2A35-4B1F-85CB-8840D23C368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40000" y="4788862"/>
            <a:ext cx="2057400" cy="144000"/>
          </a:xfrm>
        </p:spPr>
        <p:txBody>
          <a:bodyPr/>
          <a:lstStyle/>
          <a:p>
            <a:fld id="{32C1299A-642D-C745-AE2C-8F7FC8D0E1CD}" type="datetime4">
              <a:rPr lang="de-CH" smtClean="0"/>
              <a:pPr/>
              <a:t>17. August 2022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4FC6F52-01AB-43AE-8EAE-F594C720DA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46850" y="4788862"/>
            <a:ext cx="2057400" cy="144000"/>
          </a:xfrm>
        </p:spPr>
        <p:txBody>
          <a:bodyPr/>
          <a:lstStyle/>
          <a:p>
            <a:fld id="{0872841A-261C-904D-89C3-31866CF66781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AD060B8-8969-4D2E-A981-6FA448A828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45025" y="4302122"/>
            <a:ext cx="3960814" cy="198440"/>
          </a:xfrm>
        </p:spPr>
        <p:txBody>
          <a:bodyPr/>
          <a:lstStyle/>
          <a:p>
            <a:r>
              <a:rPr lang="de-CH" dirty="0"/>
              <a:t>Bildunterschrif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0136260-06A0-43D7-8F6E-E533AC5E187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0000" y="1289304"/>
            <a:ext cx="3960000" cy="3211258"/>
          </a:xfrm>
        </p:spPr>
        <p:txBody>
          <a:bodyPr/>
          <a:lstStyle/>
          <a:p>
            <a:pPr lvl="1"/>
            <a:r>
              <a:rPr lang="de-CH" dirty="0"/>
              <a:t>Lorem ipsum dolor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endParaRPr lang="de-CH" dirty="0"/>
          </a:p>
          <a:p>
            <a:r>
              <a:rPr lang="de-CH" dirty="0" err="1"/>
              <a:t>Consectetuer</a:t>
            </a:r>
            <a:r>
              <a:rPr lang="de-CH" dirty="0"/>
              <a:t> adipiscing elit. Maecenas porttitor </a:t>
            </a:r>
            <a:r>
              <a:rPr lang="de-CH" dirty="0" err="1"/>
              <a:t>congue</a:t>
            </a:r>
            <a:r>
              <a:rPr lang="de-CH" dirty="0"/>
              <a:t> </a:t>
            </a:r>
            <a:r>
              <a:rPr lang="de-CH" dirty="0" err="1"/>
              <a:t>massa</a:t>
            </a:r>
            <a:r>
              <a:rPr lang="de-CH" dirty="0"/>
              <a:t>: </a:t>
            </a:r>
          </a:p>
          <a:p>
            <a:pPr lvl="3"/>
            <a:r>
              <a:rPr lang="de-CH" dirty="0" err="1"/>
              <a:t>Pellentesque</a:t>
            </a:r>
            <a:r>
              <a:rPr lang="de-CH" dirty="0"/>
              <a:t> habitant morbi tristique senectus et </a:t>
            </a:r>
            <a:r>
              <a:rPr lang="de-CH" dirty="0" err="1"/>
              <a:t>netus</a:t>
            </a:r>
            <a:r>
              <a:rPr lang="de-CH" dirty="0"/>
              <a:t> </a:t>
            </a:r>
          </a:p>
          <a:p>
            <a:pPr lvl="3"/>
            <a:r>
              <a:rPr lang="de-CH" dirty="0"/>
              <a:t>et malesuada fames ac turpis egestas. Proin pharetra nonummy pede. </a:t>
            </a:r>
          </a:p>
          <a:p>
            <a:pPr lvl="3"/>
            <a:r>
              <a:rPr lang="de-CH" dirty="0"/>
              <a:t>Mauris et orci.</a:t>
            </a:r>
          </a:p>
          <a:p>
            <a:endParaRPr lang="de-CH" dirty="0"/>
          </a:p>
        </p:txBody>
      </p:sp>
      <p:pic>
        <p:nvPicPr>
          <p:cNvPr id="10" name="Bildplatzhalter 8">
            <a:extLst>
              <a:ext uri="{FF2B5EF4-FFF2-40B4-BE49-F238E27FC236}">
                <a16:creationId xmlns:a16="http://schemas.microsoft.com/office/drawing/2014/main" id="{41519909-8821-46E2-B151-A60EE200D825}"/>
              </a:ext>
            </a:extLst>
          </p:cNvPr>
          <p:cNvPicPr>
            <a:picLocks noGrp="1" noChangeAspect="1"/>
          </p:cNvPicPr>
          <p:nvPr>
            <p:ph sz="half" idx="15"/>
          </p:nvPr>
        </p:nvPicPr>
        <p:blipFill rotWithShape="1">
          <a:blip r:embed="rId2"/>
          <a:srcRect l="17654" t="8" r="8432" b="2898"/>
          <a:stretch/>
        </p:blipFill>
        <p:spPr>
          <a:xfrm>
            <a:off x="4645025" y="1289304"/>
            <a:ext cx="3959225" cy="2925509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AC71A9D-BADD-4E13-968E-5373E84F2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46888"/>
            <a:ext cx="7145338" cy="688150"/>
          </a:xfrm>
        </p:spPr>
        <p:txBody>
          <a:bodyPr/>
          <a:lstStyle/>
          <a:p>
            <a:r>
              <a:rPr lang="de-CH" dirty="0"/>
              <a:t>Hier steht der Titel / Layout-Beispiel 01</a:t>
            </a:r>
          </a:p>
        </p:txBody>
      </p:sp>
    </p:spTree>
    <p:extLst>
      <p:ext uri="{BB962C8B-B14F-4D97-AF65-F5344CB8AC3E}">
        <p14:creationId xmlns:p14="http://schemas.microsoft.com/office/powerpoint/2010/main" val="6692981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73217B-2A35-4B1F-85CB-8840D23C368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40000" y="4788862"/>
            <a:ext cx="2057400" cy="144000"/>
          </a:xfrm>
        </p:spPr>
        <p:txBody>
          <a:bodyPr/>
          <a:lstStyle/>
          <a:p>
            <a:fld id="{32C1299A-642D-C745-AE2C-8F7FC8D0E1CD}" type="datetime4">
              <a:rPr lang="de-CH" smtClean="0"/>
              <a:pPr/>
              <a:t>17. August 2022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4FC6F52-01AB-43AE-8EAE-F594C720DA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46850" y="4788862"/>
            <a:ext cx="2057400" cy="144000"/>
          </a:xfrm>
        </p:spPr>
        <p:txBody>
          <a:bodyPr/>
          <a:lstStyle/>
          <a:p>
            <a:fld id="{0872841A-261C-904D-89C3-31866CF66781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AD060B8-8969-4D2E-A981-6FA448A828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45025" y="4302122"/>
            <a:ext cx="3960814" cy="198440"/>
          </a:xfrm>
        </p:spPr>
        <p:txBody>
          <a:bodyPr/>
          <a:lstStyle/>
          <a:p>
            <a:r>
              <a:rPr lang="de-CH" dirty="0"/>
              <a:t>Bildunterschrif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0136260-06A0-43D7-8F6E-E533AC5E187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0000" y="1289304"/>
            <a:ext cx="3960000" cy="3211258"/>
          </a:xfrm>
        </p:spPr>
        <p:txBody>
          <a:bodyPr/>
          <a:lstStyle/>
          <a:p>
            <a:pPr lvl="1"/>
            <a:r>
              <a:rPr lang="de-CH" dirty="0"/>
              <a:t>Lorem ipsum dolor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endParaRPr lang="de-CH" dirty="0"/>
          </a:p>
          <a:p>
            <a:r>
              <a:rPr lang="de-CH" dirty="0" err="1"/>
              <a:t>Consectetuer</a:t>
            </a:r>
            <a:r>
              <a:rPr lang="de-CH" dirty="0"/>
              <a:t> adipiscing elit. Maecenas porttitor </a:t>
            </a:r>
            <a:r>
              <a:rPr lang="de-CH" dirty="0" err="1"/>
              <a:t>congue</a:t>
            </a:r>
            <a:r>
              <a:rPr lang="de-CH" dirty="0"/>
              <a:t> </a:t>
            </a:r>
            <a:r>
              <a:rPr lang="de-CH" dirty="0" err="1"/>
              <a:t>massa</a:t>
            </a:r>
            <a:r>
              <a:rPr lang="de-CH" dirty="0"/>
              <a:t>: </a:t>
            </a:r>
          </a:p>
          <a:p>
            <a:pPr lvl="3"/>
            <a:r>
              <a:rPr lang="de-CH" dirty="0" err="1"/>
              <a:t>Pellentesque</a:t>
            </a:r>
            <a:r>
              <a:rPr lang="de-CH" dirty="0"/>
              <a:t> habitant morbi tristique senectus et </a:t>
            </a:r>
            <a:r>
              <a:rPr lang="de-CH" dirty="0" err="1"/>
              <a:t>netus</a:t>
            </a:r>
            <a:r>
              <a:rPr lang="de-CH" dirty="0"/>
              <a:t> </a:t>
            </a:r>
          </a:p>
          <a:p>
            <a:pPr lvl="3"/>
            <a:r>
              <a:rPr lang="de-CH" dirty="0"/>
              <a:t>et malesuada fames ac turpis egestas. Proin pharetra nonummy pede. </a:t>
            </a:r>
          </a:p>
          <a:p>
            <a:pPr lvl="3"/>
            <a:r>
              <a:rPr lang="de-CH" dirty="0"/>
              <a:t>Mauris et orci.</a:t>
            </a:r>
          </a:p>
          <a:p>
            <a:endParaRPr lang="de-CH" dirty="0"/>
          </a:p>
        </p:txBody>
      </p:sp>
      <p:graphicFrame>
        <p:nvGraphicFramePr>
          <p:cNvPr id="11" name="Inhaltsplatzhalter 10">
            <a:extLst>
              <a:ext uri="{FF2B5EF4-FFF2-40B4-BE49-F238E27FC236}">
                <a16:creationId xmlns:a16="http://schemas.microsoft.com/office/drawing/2014/main" id="{4AE4AB01-C721-4956-BE40-1170408DA1C9}"/>
              </a:ext>
            </a:extLst>
          </p:cNvPr>
          <p:cNvGraphicFramePr>
            <a:graphicFrameLocks noGrp="1"/>
          </p:cNvGraphicFramePr>
          <p:nvPr>
            <p:ph sz="half" idx="15"/>
            <p:extLst>
              <p:ext uri="{D42A27DB-BD31-4B8C-83A1-F6EECF244321}">
                <p14:modId xmlns:p14="http://schemas.microsoft.com/office/powerpoint/2010/main" val="4168432418"/>
              </p:ext>
            </p:extLst>
          </p:nvPr>
        </p:nvGraphicFramePr>
        <p:xfrm>
          <a:off x="4645025" y="1289050"/>
          <a:ext cx="3959225" cy="2925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AC71A9D-BADD-4E13-968E-5373E84F2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46888"/>
            <a:ext cx="7145338" cy="688150"/>
          </a:xfrm>
        </p:spPr>
        <p:txBody>
          <a:bodyPr/>
          <a:lstStyle/>
          <a:p>
            <a:r>
              <a:rPr lang="de-CH" dirty="0"/>
              <a:t>Hier steht der Titel / Layout-Beispiel 02</a:t>
            </a:r>
          </a:p>
        </p:txBody>
      </p:sp>
    </p:spTree>
    <p:extLst>
      <p:ext uri="{BB962C8B-B14F-4D97-AF65-F5344CB8AC3E}">
        <p14:creationId xmlns:p14="http://schemas.microsoft.com/office/powerpoint/2010/main" val="26426108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76C98DD-B647-E646-9FEA-6DFA33756E1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40000" y="4788862"/>
            <a:ext cx="2057400" cy="144000"/>
          </a:xfrm>
        </p:spPr>
        <p:txBody>
          <a:bodyPr/>
          <a:lstStyle/>
          <a:p>
            <a:fld id="{96133DF1-6AA2-EA47-8836-A161EFAF519B}" type="datetime4">
              <a:rPr lang="de-CH" smtClean="0"/>
              <a:pPr/>
              <a:t>17. August 2022</a:t>
            </a:fld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D71F62D-EBF7-5E43-BC2F-D420031F7A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546850" y="4788862"/>
            <a:ext cx="2057400" cy="144000"/>
          </a:xfrm>
        </p:spPr>
        <p:txBody>
          <a:bodyPr/>
          <a:lstStyle/>
          <a:p>
            <a:fld id="{0872841A-261C-904D-89C3-31866CF66781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C6B1B33-F06B-0D49-AAFD-56105CF9D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750" y="1289050"/>
            <a:ext cx="8064500" cy="2498090"/>
          </a:xfrm>
        </p:spPr>
        <p:txBody>
          <a:bodyPr/>
          <a:lstStyle/>
          <a:p>
            <a:r>
              <a:rPr lang="de-CH" dirty="0"/>
              <a:t>«Dies wäre ein konkretes Beispiel für ein Zitat.</a:t>
            </a:r>
            <a:br>
              <a:rPr lang="de-CH" dirty="0"/>
            </a:br>
            <a:r>
              <a:rPr lang="de-CH" dirty="0"/>
              <a:t>Die mittelachsigen Zeilen fügen sich eine unter die andere, </a:t>
            </a:r>
            <a:br>
              <a:rPr lang="de-CH" dirty="0"/>
            </a:br>
            <a:r>
              <a:rPr lang="de-CH" dirty="0"/>
              <a:t>umbrechen sollte man sie selbst.»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90946A9-4551-DC42-8A8D-12B405B370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50" y="4069137"/>
            <a:ext cx="8064500" cy="190443"/>
          </a:xfrm>
        </p:spPr>
        <p:txBody>
          <a:bodyPr/>
          <a:lstStyle/>
          <a:p>
            <a:r>
              <a:rPr lang="de-CH" dirty="0"/>
              <a:t>Dies ist der Urheber des Zita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05737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24F3113-65A3-DF42-B5DD-90FE8E853BB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40000" y="4788862"/>
            <a:ext cx="2057400" cy="144000"/>
          </a:xfrm>
        </p:spPr>
        <p:txBody>
          <a:bodyPr/>
          <a:lstStyle/>
          <a:p>
            <a:fld id="{5113C9EB-2F4D-B545-8DD8-4027F472694C}" type="datetime4">
              <a:rPr lang="de-CH" smtClean="0"/>
              <a:pPr/>
              <a:t>17. August 2022</a:t>
            </a:fld>
            <a:endParaRPr lang="de-DE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>
          <a:xfrm>
            <a:off x="6546850" y="4788862"/>
            <a:ext cx="2057400" cy="144000"/>
          </a:xfrm>
        </p:spPr>
        <p:txBody>
          <a:bodyPr/>
          <a:lstStyle/>
          <a:p>
            <a:fld id="{0872841A-261C-904D-89C3-31866CF66781}" type="slidenum">
              <a:rPr lang="de-DE" smtClean="0"/>
              <a:pPr/>
              <a:t>15</a:t>
            </a:fld>
            <a:endParaRPr lang="de-DE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E550D553-583E-4BA1-A3DD-075FEC81689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t="9056" b="9056"/>
          <a:stretch/>
        </p:blipFill>
        <p:spPr>
          <a:xfrm>
            <a:off x="540000" y="935831"/>
            <a:ext cx="3960000" cy="3242469"/>
          </a:xfrm>
        </p:spPr>
      </p:pic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8433187-5514-4240-9B0C-F59ECCC1575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43438" y="933450"/>
            <a:ext cx="3960561" cy="3242550"/>
          </a:xfrm>
        </p:spPr>
        <p:txBody>
          <a:bodyPr tIns="72000" rIns="72000" bIns="72000"/>
          <a:lstStyle/>
          <a:p>
            <a:pPr lvl="0"/>
            <a:r>
              <a:rPr lang="de-DE" dirty="0"/>
              <a:t>Max Muster</a:t>
            </a:r>
          </a:p>
          <a:p>
            <a:endParaRPr lang="de-CH" dirty="0"/>
          </a:p>
          <a:p>
            <a:pPr lvl="1"/>
            <a:r>
              <a:rPr lang="de-CH" dirty="0"/>
              <a:t>Stellenbezeichnung</a:t>
            </a:r>
          </a:p>
          <a:p>
            <a:pPr lvl="1"/>
            <a:r>
              <a:rPr lang="de-CH" dirty="0"/>
              <a:t>max.muster@email.com</a:t>
            </a:r>
          </a:p>
          <a:p>
            <a:pPr lvl="1"/>
            <a:r>
              <a:rPr lang="de-CH" dirty="0"/>
              <a:t>+41 012 345 67 89</a:t>
            </a:r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50982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89901A4-1F85-40C4-97AC-2389BE8740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zia-</a:t>
            </a:r>
            <a:r>
              <a:rPr lang="en-US" dirty="0" err="1"/>
              <a:t>Grazie</a:t>
            </a:r>
            <a:r>
              <a:rPr lang="en-US" dirty="0"/>
              <a:t>-</a:t>
            </a:r>
            <a:r>
              <a:rPr lang="en-US" dirty="0" err="1"/>
              <a:t>Dank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466A6D-DA57-44FE-AA83-54302D1CEE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 err="1"/>
              <a:t>Pädagogische</a:t>
            </a:r>
            <a:r>
              <a:rPr lang="it-IT" dirty="0"/>
              <a:t> </a:t>
            </a:r>
            <a:r>
              <a:rPr lang="it-IT" dirty="0" err="1"/>
              <a:t>Hochschule</a:t>
            </a:r>
            <a:r>
              <a:rPr lang="it-IT" dirty="0"/>
              <a:t> </a:t>
            </a:r>
            <a:r>
              <a:rPr lang="it-IT" dirty="0" err="1"/>
              <a:t>Graubünden</a:t>
            </a:r>
            <a:endParaRPr lang="it-IT" dirty="0"/>
          </a:p>
          <a:p>
            <a:r>
              <a:rPr lang="it-IT" dirty="0"/>
              <a:t>Scola </a:t>
            </a:r>
            <a:r>
              <a:rPr lang="it-IT" dirty="0" err="1"/>
              <a:t>auta</a:t>
            </a:r>
            <a:r>
              <a:rPr lang="it-IT" dirty="0"/>
              <a:t> da pedagogia dal </a:t>
            </a:r>
            <a:r>
              <a:rPr lang="it-IT" dirty="0" err="1"/>
              <a:t>Grischun</a:t>
            </a:r>
            <a:endParaRPr lang="it-IT" dirty="0"/>
          </a:p>
          <a:p>
            <a:r>
              <a:rPr lang="it-IT" dirty="0"/>
              <a:t>Alta scuola pedagogica dei Grigioni</a:t>
            </a:r>
          </a:p>
          <a:p>
            <a:endParaRPr lang="it-IT" dirty="0"/>
          </a:p>
          <a:p>
            <a:r>
              <a:rPr lang="it-IT" dirty="0" err="1"/>
              <a:t>Scalärastrasse</a:t>
            </a:r>
            <a:r>
              <a:rPr lang="it-IT" dirty="0"/>
              <a:t> 17, 700 Chur</a:t>
            </a:r>
          </a:p>
          <a:p>
            <a:r>
              <a:rPr lang="it-IT" dirty="0"/>
              <a:t>+41 81 354 03 02, info@phgr.ch </a:t>
            </a:r>
          </a:p>
        </p:txBody>
      </p:sp>
    </p:spTree>
    <p:extLst>
      <p:ext uri="{BB962C8B-B14F-4D97-AF65-F5344CB8AC3E}">
        <p14:creationId xmlns:p14="http://schemas.microsoft.com/office/powerpoint/2010/main" val="39791634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49045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BF12AEE-02A5-4335-8A59-E0C8AB0C4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72841A-261C-904D-89C3-31866CF66781}" type="slidenum">
              <a:rPr lang="de-DE" smtClean="0"/>
              <a:t>18</a:t>
            </a:fld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8134CF-9AEB-4FB7-BA06-BAD7A4E424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iagramm-Vorlage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F6A0BFBB-3190-4A1D-89E2-EE367A19567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615263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91992681"/>
              </p:ext>
            </p:extLst>
          </p:nvPr>
        </p:nvGraphicFramePr>
        <p:xfrm>
          <a:off x="539750" y="1289050"/>
          <a:ext cx="8064500" cy="3211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25ECBDE-8544-7F4F-B59A-21DEDFF83E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40000" y="4788862"/>
            <a:ext cx="2057400" cy="144000"/>
          </a:xfrm>
        </p:spPr>
        <p:txBody>
          <a:bodyPr/>
          <a:lstStyle/>
          <a:p>
            <a:fld id="{2C94CCC6-338D-804F-82C3-F1ABFDF86596}" type="datetime4">
              <a:rPr lang="de-CH" smtClean="0"/>
              <a:pPr/>
              <a:t>17. August 202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6546850" y="4788862"/>
            <a:ext cx="2057400" cy="144000"/>
          </a:xfrm>
        </p:spPr>
        <p:txBody>
          <a:bodyPr/>
          <a:lstStyle/>
          <a:p>
            <a:fld id="{0872841A-261C-904D-89C3-31866CF66781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0000" y="246888"/>
            <a:ext cx="8065838" cy="688150"/>
          </a:xfrm>
        </p:spPr>
        <p:txBody>
          <a:bodyPr>
            <a:normAutofit fontScale="90000"/>
          </a:bodyPr>
          <a:lstStyle/>
          <a:p>
            <a:r>
              <a:rPr lang="de-CH" dirty="0"/>
              <a:t>DIES IST EIN BEISPIEL </a:t>
            </a:r>
            <a:br>
              <a:rPr lang="de-CH" dirty="0"/>
            </a:br>
            <a:r>
              <a:rPr lang="de-CH" dirty="0"/>
              <a:t>FÜR EIN KUCHENDIAGRAM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58556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EB9A83-9EDA-4EE5-9A85-26FD993BC4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289304"/>
            <a:ext cx="8064250" cy="3211258"/>
          </a:xfrm>
        </p:spPr>
        <p:txBody>
          <a:bodyPr/>
          <a:lstStyle/>
          <a:p>
            <a:pPr lvl="2"/>
            <a:r>
              <a:rPr lang="de-DE" dirty="0"/>
              <a:t>Unterschied Native/Hybrid</a:t>
            </a:r>
          </a:p>
          <a:p>
            <a:pPr lvl="2"/>
            <a:r>
              <a:rPr lang="de-DE" dirty="0"/>
              <a:t>Überblick Native</a:t>
            </a:r>
          </a:p>
          <a:p>
            <a:pPr lvl="2"/>
            <a:r>
              <a:rPr lang="de-DE" dirty="0"/>
              <a:t>Überblick Hybrid</a:t>
            </a:r>
          </a:p>
          <a:p>
            <a:pPr lvl="2"/>
            <a:r>
              <a:rPr lang="de-CH" dirty="0"/>
              <a:t>Android</a:t>
            </a:r>
          </a:p>
          <a:p>
            <a:pPr lvl="2"/>
            <a:r>
              <a:rPr lang="de-CH" dirty="0"/>
              <a:t>IOS</a:t>
            </a:r>
          </a:p>
          <a:p>
            <a:pPr lvl="2"/>
            <a:r>
              <a:rPr lang="de-CH" dirty="0"/>
              <a:t>Hybrid</a:t>
            </a:r>
          </a:p>
          <a:p>
            <a:pPr lvl="2"/>
            <a:endParaRPr lang="de-CH" dirty="0"/>
          </a:p>
          <a:p>
            <a:endParaRPr lang="de-CH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04C4E80-F585-4F4C-9169-241F861DBB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40000" y="4788862"/>
            <a:ext cx="2057400" cy="144000"/>
          </a:xfrm>
        </p:spPr>
        <p:txBody>
          <a:bodyPr/>
          <a:lstStyle/>
          <a:p>
            <a:fld id="{E1156314-8B27-9F4F-96FC-7A7DFD3AF963}" type="datetime4">
              <a:rPr lang="de-CH" smtClean="0"/>
              <a:pPr/>
              <a:t>17. August 2022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111D3CC-11C9-4C9A-8DDA-8E3C73CAF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46850" y="4788862"/>
            <a:ext cx="2057400" cy="144000"/>
          </a:xfrm>
        </p:spPr>
        <p:txBody>
          <a:bodyPr/>
          <a:lstStyle/>
          <a:p>
            <a:fld id="{0872841A-261C-904D-89C3-31866CF66781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9D0772-1F2F-4A81-8B51-17D5D63F1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46888"/>
            <a:ext cx="8065838" cy="688150"/>
          </a:xfrm>
        </p:spPr>
        <p:txBody>
          <a:bodyPr/>
          <a:lstStyle/>
          <a:p>
            <a:r>
              <a:rPr lang="de-CH" dirty="0"/>
              <a:t>Inhalt / Programm</a:t>
            </a:r>
          </a:p>
        </p:txBody>
      </p:sp>
    </p:spTree>
    <p:extLst>
      <p:ext uri="{BB962C8B-B14F-4D97-AF65-F5344CB8AC3E}">
        <p14:creationId xmlns:p14="http://schemas.microsoft.com/office/powerpoint/2010/main" val="1677185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62841"/>
              </p:ext>
            </p:extLst>
          </p:nvPr>
        </p:nvGraphicFramePr>
        <p:xfrm>
          <a:off x="539750" y="1289050"/>
          <a:ext cx="8064500" cy="3211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D472FD7-3F60-6446-AC16-E9B9354E03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40000" y="4788862"/>
            <a:ext cx="2057400" cy="144000"/>
          </a:xfrm>
        </p:spPr>
        <p:txBody>
          <a:bodyPr/>
          <a:lstStyle/>
          <a:p>
            <a:fld id="{017B2A75-C9D7-CE4B-8E73-27DDE8847C02}" type="datetime4">
              <a:rPr lang="de-CH" smtClean="0"/>
              <a:pPr/>
              <a:t>17. August 2022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6546850" y="4788862"/>
            <a:ext cx="2057400" cy="144000"/>
          </a:xfrm>
        </p:spPr>
        <p:txBody>
          <a:bodyPr/>
          <a:lstStyle/>
          <a:p>
            <a:fld id="{0872841A-261C-904D-89C3-31866CF66781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0000" y="246888"/>
            <a:ext cx="8065838" cy="688150"/>
          </a:xfrm>
        </p:spPr>
        <p:txBody>
          <a:bodyPr>
            <a:normAutofit fontScale="90000"/>
          </a:bodyPr>
          <a:lstStyle/>
          <a:p>
            <a:r>
              <a:rPr lang="de-CH" dirty="0"/>
              <a:t>DIES IST EIN BEISPIEL </a:t>
            </a:r>
            <a:br>
              <a:rPr lang="de-CH" dirty="0"/>
            </a:br>
            <a:r>
              <a:rPr lang="de-CH" dirty="0"/>
              <a:t>FÜR EIN BALKENDIAGRAM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08583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6E76DDB-4842-2B02-9F28-C77391D678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47F071-8131-F448-9A55-FB38191D1720}" type="datetime4">
              <a:rPr lang="de-CH" smtClean="0"/>
              <a:t>23. August 2022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ACC01BF-CB26-9CDA-A532-E1AD37CA28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72841A-261C-904D-89C3-31866CF66781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0705CBD-153C-D192-ACB2-CCE783BB8B2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b="1" dirty="0"/>
              <a:t>Nativ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Wird spezifisch für ein bestimmtes Betriebssystem entwickel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s wird in der Regel die Selbe Programmiersprache verwendet in der das Betriebssystem programmiert is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91F36D12-AD00-1806-DE22-CB541DBCE260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b="1" dirty="0"/>
              <a:t>Hybri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e Codebasis kann für mehrere Betriebssysteme verwende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ann nur mithilfe von Frameworks umgesetz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s können </a:t>
            </a:r>
            <a:r>
              <a:rPr lang="de-DE" dirty="0" err="1"/>
              <a:t>morderne</a:t>
            </a:r>
            <a:r>
              <a:rPr lang="de-DE" dirty="0"/>
              <a:t> Frameworks verwendet werd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7C8D091-42B9-5E7A-C9B4-9DE84F6D01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terschied Native/Hybrid</a:t>
            </a:r>
          </a:p>
        </p:txBody>
      </p:sp>
    </p:spTree>
    <p:extLst>
      <p:ext uri="{BB962C8B-B14F-4D97-AF65-F5344CB8AC3E}">
        <p14:creationId xmlns:p14="http://schemas.microsoft.com/office/powerpoint/2010/main" val="42120768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616024-70A7-07FC-D567-D774C55F09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47F071-8131-F448-9A55-FB38191D1720}" type="datetime4">
              <a:rPr lang="de-CH" smtClean="0"/>
              <a:t>23. August 2022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8D855D1-CDE4-DEA0-AAE1-DA3822351A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72841A-261C-904D-89C3-31866CF66781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7020D9A-007C-9652-7580-D0B1B3E9936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erformanter, besonders bei Rechenintensiven Ap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rekter Zugriff auf APIs des Betriebssystems (um Hardwarekomponenten anzusprechen etc.)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9D8B575-1B5E-3403-E368-941C3528E99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 b="1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BCDA07A-EDAE-8FC9-CA08-7BBEBF067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teile Native</a:t>
            </a:r>
          </a:p>
        </p:txBody>
      </p:sp>
    </p:spTree>
    <p:extLst>
      <p:ext uri="{BB962C8B-B14F-4D97-AF65-F5344CB8AC3E}">
        <p14:creationId xmlns:p14="http://schemas.microsoft.com/office/powerpoint/2010/main" val="25990655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616024-70A7-07FC-D567-D774C55F09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47F071-8131-F448-9A55-FB38191D1720}" type="datetime4">
              <a:rPr lang="de-CH" smtClean="0"/>
              <a:t>23. August 2022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8D855D1-CDE4-DEA0-AAE1-DA3822351A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72841A-261C-904D-89C3-31866CF66781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7020D9A-007C-9652-7580-D0B1B3E9936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ur eine Codebasis für mehrere Betriebssyste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 der Regel deutlich schneller zum entwickel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Offener bei der 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odernerer Ansatz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9D8B575-1B5E-3403-E368-941C3528E9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46849" y="1127234"/>
            <a:ext cx="2057149" cy="3373329"/>
          </a:xfrm>
        </p:spPr>
        <p:txBody>
          <a:bodyPr/>
          <a:lstStyle/>
          <a:p>
            <a:endParaRPr lang="de-DE" b="1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BCDA07A-EDAE-8FC9-CA08-7BBEBF067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teile Hybrid</a:t>
            </a:r>
          </a:p>
        </p:txBody>
      </p:sp>
    </p:spTree>
    <p:extLst>
      <p:ext uri="{BB962C8B-B14F-4D97-AF65-F5344CB8AC3E}">
        <p14:creationId xmlns:p14="http://schemas.microsoft.com/office/powerpoint/2010/main" val="30369681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40000" y="1289304"/>
            <a:ext cx="8064250" cy="3211258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rogrammiersprachen: </a:t>
            </a:r>
            <a:r>
              <a:rPr lang="de-DE" dirty="0" err="1"/>
              <a:t>Kotlin</a:t>
            </a:r>
            <a:r>
              <a:rPr lang="de-DE" dirty="0"/>
              <a:t> oder Java (C, C++, C#, Python, … auch möglich, aber nicht unbedingt empfohle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DE: Android Studio wird empfoh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BC82D09-3E4E-2341-B28F-DA78A9C88E2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40000" y="4788862"/>
            <a:ext cx="2057400" cy="144000"/>
          </a:xfrm>
        </p:spPr>
        <p:txBody>
          <a:bodyPr/>
          <a:lstStyle/>
          <a:p>
            <a:fld id="{8A2C9E01-610D-BF45-9C6E-8BC1EE444D2D}" type="datetime4">
              <a:rPr lang="de-CH" smtClean="0"/>
              <a:pPr/>
              <a:t>17. August 2022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6546850" y="4788862"/>
            <a:ext cx="2057400" cy="144000"/>
          </a:xfrm>
        </p:spPr>
        <p:txBody>
          <a:bodyPr/>
          <a:lstStyle/>
          <a:p>
            <a:fld id="{0872841A-261C-904D-89C3-31866CF66781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0000" y="246888"/>
            <a:ext cx="8065838" cy="688150"/>
          </a:xfrm>
        </p:spPr>
        <p:txBody>
          <a:bodyPr/>
          <a:lstStyle/>
          <a:p>
            <a:r>
              <a:rPr lang="de-DE" dirty="0" err="1"/>
              <a:t>aNDROI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0807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40000" y="1289304"/>
            <a:ext cx="8064250" cy="3211258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rogrammiersprachen: Swift (empfohlen) oder </a:t>
            </a:r>
            <a:r>
              <a:rPr lang="de-DE" dirty="0" err="1"/>
              <a:t>Objective</a:t>
            </a:r>
            <a:r>
              <a:rPr lang="de-DE" dirty="0"/>
              <a:t>-C (auch andere sind möglich, aber relativ umständlic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DE: </a:t>
            </a:r>
            <a:r>
              <a:rPr lang="de-DE" dirty="0" err="1"/>
              <a:t>Xcode</a:t>
            </a:r>
            <a:r>
              <a:rPr lang="de-DE" dirty="0"/>
              <a:t> wird empfoh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BC82D09-3E4E-2341-B28F-DA78A9C88E2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40000" y="4788862"/>
            <a:ext cx="2057400" cy="144000"/>
          </a:xfrm>
        </p:spPr>
        <p:txBody>
          <a:bodyPr/>
          <a:lstStyle/>
          <a:p>
            <a:fld id="{8A2C9E01-610D-BF45-9C6E-8BC1EE444D2D}" type="datetime4">
              <a:rPr lang="de-CH" smtClean="0"/>
              <a:pPr/>
              <a:t>23. August 2022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6546850" y="4788862"/>
            <a:ext cx="2057400" cy="144000"/>
          </a:xfrm>
        </p:spPr>
        <p:txBody>
          <a:bodyPr/>
          <a:lstStyle/>
          <a:p>
            <a:fld id="{0872841A-261C-904D-89C3-31866CF66781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0000" y="246888"/>
            <a:ext cx="8065838" cy="688150"/>
          </a:xfrm>
        </p:spPr>
        <p:txBody>
          <a:bodyPr/>
          <a:lstStyle/>
          <a:p>
            <a:r>
              <a:rPr lang="de-DE" dirty="0"/>
              <a:t>IOs</a:t>
            </a:r>
          </a:p>
        </p:txBody>
      </p:sp>
    </p:spTree>
    <p:extLst>
      <p:ext uri="{BB962C8B-B14F-4D97-AF65-F5344CB8AC3E}">
        <p14:creationId xmlns:p14="http://schemas.microsoft.com/office/powerpoint/2010/main" val="9356409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40000" y="1289304"/>
            <a:ext cx="8064250" cy="3211258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rogrammiersprachen: Im Normalfall </a:t>
            </a:r>
            <a:r>
              <a:rPr lang="de-DE" dirty="0" err="1"/>
              <a:t>Javascript</a:t>
            </a:r>
            <a:r>
              <a:rPr lang="de-DE" dirty="0"/>
              <a:t> oder </a:t>
            </a:r>
            <a:r>
              <a:rPr lang="de-DE" dirty="0" err="1"/>
              <a:t>Typescript</a:t>
            </a:r>
            <a:r>
              <a:rPr lang="de-DE" dirty="0"/>
              <a:t> unter der Verwendung eines Frameworks (z.B. Angular, </a:t>
            </a:r>
            <a:r>
              <a:rPr lang="de-DE" dirty="0" err="1"/>
              <a:t>React</a:t>
            </a:r>
            <a:r>
              <a:rPr lang="de-DE" dirty="0"/>
              <a:t>, </a:t>
            </a:r>
            <a:r>
              <a:rPr lang="de-DE" dirty="0" err="1"/>
              <a:t>VueJS</a:t>
            </a:r>
            <a:r>
              <a:rPr lang="de-DE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DE: ziemlich offen, Visual Studio Code eignet sich z.B. sehr g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mit der Code in eine installierbare App „umgewandelt“ werden kann wird ein Framework benötigt. (z.B. Ionic, Flutter, </a:t>
            </a:r>
            <a:r>
              <a:rPr lang="de-DE" dirty="0" err="1"/>
              <a:t>React</a:t>
            </a:r>
            <a:r>
              <a:rPr lang="de-DE" dirty="0"/>
              <a:t> Native, Native </a:t>
            </a:r>
            <a:r>
              <a:rPr lang="de-DE" dirty="0" err="1"/>
              <a:t>Script</a:t>
            </a:r>
            <a:r>
              <a:rPr lang="de-DE" dirty="0"/>
              <a:t>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BC82D09-3E4E-2341-B28F-DA78A9C88E2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40000" y="4788862"/>
            <a:ext cx="2057400" cy="144000"/>
          </a:xfrm>
        </p:spPr>
        <p:txBody>
          <a:bodyPr/>
          <a:lstStyle/>
          <a:p>
            <a:fld id="{8A2C9E01-610D-BF45-9C6E-8BC1EE444D2D}" type="datetime4">
              <a:rPr lang="de-CH" smtClean="0"/>
              <a:pPr/>
              <a:t>23. August 2022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6546850" y="4788862"/>
            <a:ext cx="2057400" cy="144000"/>
          </a:xfrm>
        </p:spPr>
        <p:txBody>
          <a:bodyPr/>
          <a:lstStyle/>
          <a:p>
            <a:fld id="{0872841A-261C-904D-89C3-31866CF66781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0000" y="246888"/>
            <a:ext cx="8065838" cy="688150"/>
          </a:xfrm>
        </p:spPr>
        <p:txBody>
          <a:bodyPr/>
          <a:lstStyle/>
          <a:p>
            <a:r>
              <a:rPr lang="de-DE" dirty="0"/>
              <a:t>Hybrid</a:t>
            </a:r>
          </a:p>
        </p:txBody>
      </p:sp>
    </p:spTree>
    <p:extLst>
      <p:ext uri="{BB962C8B-B14F-4D97-AF65-F5344CB8AC3E}">
        <p14:creationId xmlns:p14="http://schemas.microsoft.com/office/powerpoint/2010/main" val="20672161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C0277C-F7F1-46B1-BFEC-DC40C5946F1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40000" y="4788862"/>
            <a:ext cx="2057400" cy="144000"/>
          </a:xfrm>
        </p:spPr>
        <p:txBody>
          <a:bodyPr/>
          <a:lstStyle/>
          <a:p>
            <a:fld id="{B282513C-4A6E-B04D-BC3A-F92D9569916B}" type="datetime4">
              <a:rPr lang="de-CH" smtClean="0"/>
              <a:pPr/>
              <a:t>17. August 2022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724AB25-F753-478C-ABFA-E26030242CD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546850" y="4788862"/>
            <a:ext cx="2057400" cy="144000"/>
          </a:xfrm>
        </p:spPr>
        <p:txBody>
          <a:bodyPr/>
          <a:lstStyle/>
          <a:p>
            <a:fld id="{0872841A-261C-904D-89C3-31866CF66781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163C9919-52DD-4F50-922E-37B49A2EB12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11309" r="11309"/>
          <a:stretch/>
        </p:blipFill>
        <p:spPr>
          <a:xfrm>
            <a:off x="4643188" y="1289305"/>
            <a:ext cx="3960812" cy="2901696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82B8E87-E0F8-4491-81BA-8E15B864BE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43438" y="4305299"/>
            <a:ext cx="3960812" cy="195264"/>
          </a:xfrm>
        </p:spPr>
        <p:txBody>
          <a:bodyPr/>
          <a:lstStyle/>
          <a:p>
            <a:r>
              <a:rPr lang="de-DE"/>
              <a:t>Der Beschrieb des Bildes rechts</a:t>
            </a:r>
            <a:endParaRPr lang="de-DE" dirty="0"/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D7A5888E-B890-48D0-942C-EC57F44ED28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/>
          <a:srcRect l="11309" r="11309"/>
          <a:stretch/>
        </p:blipFill>
        <p:spPr>
          <a:xfrm>
            <a:off x="540000" y="1289305"/>
            <a:ext cx="3960812" cy="2901696"/>
          </a:xfr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E432CFE-683D-4CA7-B4AD-A19FFCB723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305299"/>
            <a:ext cx="3960812" cy="195263"/>
          </a:xfrm>
        </p:spPr>
        <p:txBody>
          <a:bodyPr/>
          <a:lstStyle/>
          <a:p>
            <a:r>
              <a:rPr lang="de-DE"/>
              <a:t>Der Beschrieb des Bildes links</a:t>
            </a:r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F48C27C-22C9-45C2-9EE8-899257EDF0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46888"/>
            <a:ext cx="7145338" cy="688150"/>
          </a:xfrm>
        </p:spPr>
        <p:txBody>
          <a:bodyPr/>
          <a:lstStyle/>
          <a:p>
            <a:r>
              <a:rPr lang="de-CH"/>
              <a:t>Hier steht der Titel für das Layout mit zwei bilder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4847159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1rzh5Na6VCuiazwMsAcaUFAAAAAAADAAAAAAADAAAAAwADAAAAAAD///////8DAAEA////////BAAAAAMAEAALLIun9ymEvUKXkkenAUyAOw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J1rzh5Na6VCuiazwMsAcaUDRGF0YQAbAAAABExpbmtlZFNoYXBlRGF0YQAFAAAAAAACTmFtZQAZAAAATGlua2VkU2hhcGVzRGF0YVByb3BlcnR5ABBWZXJzaW9uAAAAAAAJTGFzdFdyaXRlAIxT0Kh5AQAAAAEA/////50AnQAAAAVfaWQAEAAAAAQsi6f3KYS9QpeSR6cBTIA7A0RhdGEAKgAAAAhQcmVzZW50YXRpb25TY2FubmVkRm9yTGlua2VkU2hhcGVzAAEAAk5hbWUAJAAAAExpbmtlZFNoYXBlUHJlc2VudGF0aW9uU2V0dGluZ3NEYXRhABBWZXJzaW9uAAAAAAAJTGFzdFdyaXRlAMFT0Kh5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UNDO_REDO_REVISION" val="1"/>
</p:tagLst>
</file>

<file path=ppt/theme/theme1.xml><?xml version="1.0" encoding="utf-8"?>
<a:theme xmlns:a="http://schemas.openxmlformats.org/drawingml/2006/main" name="phGR Master">
  <a:themeElements>
    <a:clrScheme name="Custom 45">
      <a:dk1>
        <a:srgbClr val="000000"/>
      </a:dk1>
      <a:lt1>
        <a:srgbClr val="FFFFFF"/>
      </a:lt1>
      <a:dk2>
        <a:srgbClr val="F2E500"/>
      </a:dk2>
      <a:lt2>
        <a:srgbClr val="C6C6C6"/>
      </a:lt2>
      <a:accent1>
        <a:srgbClr val="DEDC00"/>
      </a:accent1>
      <a:accent2>
        <a:srgbClr val="AFCA0A"/>
      </a:accent2>
      <a:accent3>
        <a:srgbClr val="23B2C6"/>
      </a:accent3>
      <a:accent4>
        <a:srgbClr val="6169AF"/>
      </a:accent4>
      <a:accent5>
        <a:srgbClr val="ED6A69"/>
      </a:accent5>
      <a:accent6>
        <a:srgbClr val="FBB900"/>
      </a:accent6>
      <a:hlink>
        <a:srgbClr val="93A300"/>
      </a:hlink>
      <a:folHlink>
        <a:srgbClr val="878787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-Design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5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HGR-AU-202104085-Vorlage-pptx-06-FWJM-p.pptx  -  Schreibgeschützt" id="{67DC6CEA-C5B1-4B78-AA7A-90236AFEB575}" vid="{8A71DACE-97D1-49ED-A780-10F8A9FA33BC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HGR Grün-Türkis-Violett">
    <a:dk1>
      <a:srgbClr val="000000"/>
    </a:dk1>
    <a:lt1>
      <a:srgbClr val="FFFFFF"/>
    </a:lt1>
    <a:dk2>
      <a:srgbClr val="595959"/>
    </a:dk2>
    <a:lt2>
      <a:srgbClr val="E7E6E6"/>
    </a:lt2>
    <a:accent1>
      <a:srgbClr val="F2E500"/>
    </a:accent1>
    <a:accent2>
      <a:srgbClr val="DEDC00"/>
    </a:accent2>
    <a:accent3>
      <a:srgbClr val="C7D200"/>
    </a:accent3>
    <a:accent4>
      <a:srgbClr val="23B2C6"/>
    </a:accent4>
    <a:accent5>
      <a:srgbClr val="6169AF"/>
    </a:accent5>
    <a:accent6>
      <a:srgbClr val="DADADA"/>
    </a:accent6>
    <a:hlink>
      <a:srgbClr val="93A300"/>
    </a:hlink>
    <a:folHlink>
      <a:srgbClr val="878787"/>
    </a:folHlink>
  </a:clrScheme>
  <a:fontScheme name="Consolas-Verdana">
    <a:majorFont>
      <a:latin typeface="Consolas" panose="020B0609020204030204"/>
      <a:ea typeface=""/>
      <a:cs typeface=""/>
      <a:font script="Jpan" typeface="HG丸ｺﾞｼｯｸM-PRO"/>
      <a:font script="Hang" typeface="HY중고딕"/>
      <a:font script="Hans" typeface="华文楷体"/>
      <a:font script="Hant" typeface="新細明體"/>
      <a:font script="Arab" typeface="Tahoma"/>
      <a:font script="Hebr" typeface="Levenim MT"/>
      <a:font script="Thai" typeface="Dillen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Verdana" panose="020B0604030504040204"/>
      <a:ea typeface=""/>
      <a:cs typeface=""/>
      <a:font script="Jpan" typeface="ＭＳ ゴシック"/>
      <a:font script="Hang" typeface="굴림"/>
      <a:font script="Hans" typeface="微软雅黑"/>
      <a:font script="Hant" typeface="微軟正黑體"/>
      <a:font script="Arab" typeface="Tahoma"/>
      <a:font script="Hebr" typeface="Tahoma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Verdana"/>
      <a:font script="Uigh" typeface="Microsoft Uighur"/>
      <a:font script="Geor" typeface="Sylfaen"/>
    </a:minorFont>
  </a:fontScheme>
  <a:fmtScheme name="Office-Design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2082A941C2F254CA646A8F735107CFB" ma:contentTypeVersion="0" ma:contentTypeDescription="Ein neues Dokument erstellen." ma:contentTypeScope="" ma:versionID="e27559e8427e0b4142cd62024f0cc72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8c96a1500b55a331f0d0926ba64a978c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EEDB516E0F22948ABAA02CCB5CF5EDB" ma:contentTypeVersion="8" ma:contentTypeDescription="Ein neues Dokument erstellen." ma:contentTypeScope="" ma:versionID="959fdb5d32e0c71eed993377af22907c">
  <xsd:schema xmlns:xsd="http://www.w3.org/2001/XMLSchema" xmlns:xs="http://www.w3.org/2001/XMLSchema" xmlns:p="http://schemas.microsoft.com/office/2006/metadata/properties" xmlns:ns1="http://schemas.microsoft.com/sharepoint/v3" xmlns:ns2="1adecbf6-a764-4410-8e1a-a443f8432dbc" xmlns:ns3="http://schemas.microsoft.com/sharepoint/v3/fields" xmlns:ns4="c5fd98b3-7fa7-4f4d-9947-43dfb80f35fb" targetNamespace="http://schemas.microsoft.com/office/2006/metadata/properties" ma:root="true" ma:fieldsID="4681b59ee18f0c787a6be46f9ffb304e" ns1:_="" ns2:_="" ns3:_="" ns4:_="">
    <xsd:import namespace="http://schemas.microsoft.com/sharepoint/v3"/>
    <xsd:import namespace="1adecbf6-a764-4410-8e1a-a443f8432dbc"/>
    <xsd:import namespace="http://schemas.microsoft.com/sharepoint/v3/fields"/>
    <xsd:import namespace="c5fd98b3-7fa7-4f4d-9947-43dfb80f35fb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Klassifizierung" minOccurs="0"/>
                <xsd:element ref="ns1:Language" minOccurs="0"/>
                <xsd:element ref="ns3:_Status" minOccurs="0"/>
                <xsd:element ref="ns4:MediaServiceMetadata" minOccurs="0"/>
                <xsd:element ref="ns4:MediaServiceFastMetadata" minOccurs="0"/>
                <xsd:element ref="ns4:Formular" minOccurs="0"/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Language" ma:index="12" nillable="true" ma:displayName="Sprache" ma:default="Deutsch" ma:format="Dropdown" ma:internalName="Language">
      <xsd:simpleType>
        <xsd:restriction base="dms:Choice">
          <xsd:enumeration value="Deutsch"/>
          <xsd:enumeration value="Italienisch"/>
          <xsd:enumeration value="Romanisch"/>
          <xsd:enumeration value="Französisch"/>
          <xsd:enumeration value="Englisch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decbf6-a764-4410-8e1a-a443f8432db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Klassifizierung" ma:index="11" nillable="true" ma:displayName="Klassifizierung" ma:default="Intern" ma:format="Dropdown" ma:internalName="Klassifizierung">
      <xsd:simpleType>
        <xsd:restriction base="dms:Choice">
          <xsd:enumeration value="Öffentlich"/>
          <xsd:enumeration value="Intern"/>
          <xsd:enumeration value="Vertraulich"/>
          <xsd:enumeration value="Geheim"/>
        </xsd:restriction>
      </xsd:simpleType>
    </xsd:element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13" nillable="true" ma:displayName="Status" ma:default="Aktiv" ma:format="Dropdown" ma:internalName="_Status">
      <xsd:simpleType>
        <xsd:restriction base="dms:Choice">
          <xsd:enumeration value="Entwurf"/>
          <xsd:enumeration value="Vernehmlassung"/>
          <xsd:enumeration value="Aktiv"/>
          <xsd:enumeration value="Abgelöst"/>
          <xsd:enumeration value="Archiviert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fd98b3-7fa7-4f4d-9947-43dfb80f35f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Formular" ma:index="16" nillable="true" ma:displayName="Formular" ma:default="1" ma:internalName="Formular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440B42B-78F1-4675-8E23-BAE609DD804A}">
  <ds:schemaRefs>
    <ds:schemaRef ds:uri="http://purl.org/dc/terms/"/>
    <ds:schemaRef ds:uri="1adecbf6-a764-4410-8e1a-a443f8432dbc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c5fd98b3-7fa7-4f4d-9947-43dfb80f35fb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schemas.microsoft.com/sharepoint/v3/field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969494F-FF6F-4A46-A8BB-10BB3F5CB35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D4A68AE-AAFC-404C-84B2-0A68E98CEC68}"/>
</file>

<file path=customXml/itemProps4.xml><?xml version="1.0" encoding="utf-8"?>
<ds:datastoreItem xmlns:ds="http://schemas.openxmlformats.org/officeDocument/2006/customXml" ds:itemID="{69E8DE5E-7E7D-4E7C-AC2F-B57C78B633F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adecbf6-a764-4410-8e1a-a443f8432dbc"/>
    <ds:schemaRef ds:uri="http://schemas.microsoft.com/sharepoint/v3/fields"/>
    <ds:schemaRef ds:uri="c5fd98b3-7fa7-4f4d-9947-43dfb80f35f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90</Words>
  <Application>Microsoft Office PowerPoint</Application>
  <PresentationFormat>Bildschirmpräsentation (16:9)</PresentationFormat>
  <Paragraphs>104</Paragraphs>
  <Slides>20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4" baseType="lpstr">
      <vt:lpstr>Arial</vt:lpstr>
      <vt:lpstr>Calibri</vt:lpstr>
      <vt:lpstr>Verdana</vt:lpstr>
      <vt:lpstr>phGR Master</vt:lpstr>
      <vt:lpstr>Modul 335 Möglichkeiten zur Entwicklung</vt:lpstr>
      <vt:lpstr>Inhalt / Programm</vt:lpstr>
      <vt:lpstr>Unterschied Native/Hybrid</vt:lpstr>
      <vt:lpstr>Vorteile Native</vt:lpstr>
      <vt:lpstr>Vorteile Hybrid</vt:lpstr>
      <vt:lpstr>aNDROID</vt:lpstr>
      <vt:lpstr>IOs</vt:lpstr>
      <vt:lpstr>Hybrid</vt:lpstr>
      <vt:lpstr>Hier steht der Titel für das Layout mit zwei bildern</vt:lpstr>
      <vt:lpstr>PowerPoint-Präsentation</vt:lpstr>
      <vt:lpstr>PowerPoint-Präsentation</vt:lpstr>
      <vt:lpstr>Hier steht der Titel / Layout-Beispiel 01</vt:lpstr>
      <vt:lpstr>Hier steht der Titel / Layout-Beispiel 02</vt:lpstr>
      <vt:lpstr>PowerPoint-Präsentation</vt:lpstr>
      <vt:lpstr>PowerPoint-Präsentation</vt:lpstr>
      <vt:lpstr>Grazia-Grazie-Danke</vt:lpstr>
      <vt:lpstr>PowerPoint-Präsentation</vt:lpstr>
      <vt:lpstr>Diagramm-Vorlagen</vt:lpstr>
      <vt:lpstr>DIES IST EIN BEISPIEL  FÜR EIN KUCHENDIAGRAMM</vt:lpstr>
      <vt:lpstr>DIES IST EIN BEISPIEL  FÜR EIN BALKENDIAGRAM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 335 Möglichkeiten zur Entwicklung</dc:title>
  <dc:creator>Schmid André</dc:creator>
  <cp:lastModifiedBy>Schmid André</cp:lastModifiedBy>
  <cp:revision>4</cp:revision>
  <dcterms:created xsi:type="dcterms:W3CDTF">2022-08-17T12:08:45Z</dcterms:created>
  <dcterms:modified xsi:type="dcterms:W3CDTF">2022-08-23T14:53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082A941C2F254CA646A8F735107CFB</vt:lpwstr>
  </property>
  <property fmtid="{D5CDD505-2E9C-101B-9397-08002B2CF9AE}" pid="3" name="_dlc_DocIdItemGuid">
    <vt:lpwstr>1a251a7d-6b22-4995-91a0-53570c072be9</vt:lpwstr>
  </property>
</Properties>
</file>